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3" r:id="rId4"/>
    <p:sldMasterId id="2147483931" r:id="rId5"/>
    <p:sldMasterId id="2147483934" r:id="rId6"/>
    <p:sldMasterId id="2147483752" r:id="rId7"/>
    <p:sldMasterId id="2147483660" r:id="rId8"/>
    <p:sldMasterId id="2147483681" r:id="rId9"/>
    <p:sldMasterId id="2147484096" r:id="rId10"/>
  </p:sldMasterIdLst>
  <p:notesMasterIdLst>
    <p:notesMasterId r:id="rId32"/>
  </p:notesMasterIdLst>
  <p:sldIdLst>
    <p:sldId id="258" r:id="rId11"/>
    <p:sldId id="288" r:id="rId12"/>
    <p:sldId id="259" r:id="rId13"/>
    <p:sldId id="277" r:id="rId14"/>
    <p:sldId id="299" r:id="rId15"/>
    <p:sldId id="300" r:id="rId16"/>
    <p:sldId id="327" r:id="rId17"/>
    <p:sldId id="330" r:id="rId18"/>
    <p:sldId id="265" r:id="rId19"/>
    <p:sldId id="295" r:id="rId20"/>
    <p:sldId id="296" r:id="rId21"/>
    <p:sldId id="338" r:id="rId22"/>
    <p:sldId id="335" r:id="rId23"/>
    <p:sldId id="326" r:id="rId24"/>
    <p:sldId id="268" r:id="rId25"/>
    <p:sldId id="280" r:id="rId26"/>
    <p:sldId id="272" r:id="rId27"/>
    <p:sldId id="284" r:id="rId28"/>
    <p:sldId id="317" r:id="rId29"/>
    <p:sldId id="339" r:id="rId30"/>
    <p:sldId id="271"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BB8485-3DEB-0ACF-0EFC-66292534DEAF}" name="Zimmerman, Mariia (OST)" initials="Z(" userId="S::mariia.zimmerman@ad.dot.gov::8ffa6cbd-221c-4ddc-9e5b-99b214cea14c" providerId="AD"/>
  <p188:author id="{546CE4BD-3834-5494-6305-339989659767}" name="Close, Michael (OST)" initials="CM(" userId="S::michael.close@ad.dot.gov::12f7f0b9-0ac6-471c-b625-5e7302830877"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58CBDC-78C5-1B25-9D4D-C9F831C81DB9}" v="197" dt="2024-02-08T16:37:56.7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81407" autoAdjust="0"/>
  </p:normalViewPr>
  <p:slideViewPr>
    <p:cSldViewPr snapToGrid="0">
      <p:cViewPr varScale="1">
        <p:scale>
          <a:sx n="70" d="100"/>
          <a:sy n="70" d="100"/>
        </p:scale>
        <p:origin x="941" y="43"/>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gers, Amanda (OST)" userId="S::amanda.rogers@ad.dot.gov::75b2722b-6ec1-4bf8-8a17-c8c89c83c278" providerId="AD" clId="Web-{76DC0A44-E514-89E4-7163-F0373D8CCF89}"/>
    <pc:docChg chg="addSld delSld modSld">
      <pc:chgData name="Rogers, Amanda (OST)" userId="S::amanda.rogers@ad.dot.gov::75b2722b-6ec1-4bf8-8a17-c8c89c83c278" providerId="AD" clId="Web-{76DC0A44-E514-89E4-7163-F0373D8CCF89}" dt="2023-07-06T19:32:17.955" v="761" actId="20577"/>
      <pc:docMkLst>
        <pc:docMk/>
      </pc:docMkLst>
      <pc:sldChg chg="addSp delSp modSp">
        <pc:chgData name="Rogers, Amanda (OST)" userId="S::amanda.rogers@ad.dot.gov::75b2722b-6ec1-4bf8-8a17-c8c89c83c278" providerId="AD" clId="Web-{76DC0A44-E514-89E4-7163-F0373D8CCF89}" dt="2023-07-06T19:32:17.955" v="761" actId="20577"/>
        <pc:sldMkLst>
          <pc:docMk/>
          <pc:sldMk cId="239497448" sldId="258"/>
        </pc:sldMkLst>
        <pc:spChg chg="del mod">
          <ac:chgData name="Rogers, Amanda (OST)" userId="S::amanda.rogers@ad.dot.gov::75b2722b-6ec1-4bf8-8a17-c8c89c83c278" providerId="AD" clId="Web-{76DC0A44-E514-89E4-7163-F0373D8CCF89}" dt="2023-07-06T19:31:49.204" v="737"/>
          <ac:spMkLst>
            <pc:docMk/>
            <pc:sldMk cId="239497448" sldId="258"/>
            <ac:spMk id="3" creationId="{00000000-0000-0000-0000-000000000000}"/>
          </ac:spMkLst>
        </pc:spChg>
        <pc:spChg chg="add del mod">
          <ac:chgData name="Rogers, Amanda (OST)" userId="S::amanda.rogers@ad.dot.gov::75b2722b-6ec1-4bf8-8a17-c8c89c83c278" providerId="AD" clId="Web-{76DC0A44-E514-89E4-7163-F0373D8CCF89}" dt="2023-07-06T19:32:02.752" v="740"/>
          <ac:spMkLst>
            <pc:docMk/>
            <pc:sldMk cId="239497448" sldId="258"/>
            <ac:spMk id="5" creationId="{B057D34A-3BE8-64BC-4E4D-639305C8FA19}"/>
          </ac:spMkLst>
        </pc:spChg>
        <pc:spChg chg="add mod">
          <ac:chgData name="Rogers, Amanda (OST)" userId="S::amanda.rogers@ad.dot.gov::75b2722b-6ec1-4bf8-8a17-c8c89c83c278" providerId="AD" clId="Web-{76DC0A44-E514-89E4-7163-F0373D8CCF89}" dt="2023-07-06T19:32:17.955" v="761" actId="20577"/>
          <ac:spMkLst>
            <pc:docMk/>
            <pc:sldMk cId="239497448" sldId="258"/>
            <ac:spMk id="11" creationId="{4C6E4316-C6DE-D003-5AA1-A2140AE78A71}"/>
          </ac:spMkLst>
        </pc:spChg>
      </pc:sldChg>
      <pc:sldChg chg="modSp modNotes">
        <pc:chgData name="Rogers, Amanda (OST)" userId="S::amanda.rogers@ad.dot.gov::75b2722b-6ec1-4bf8-8a17-c8c89c83c278" providerId="AD" clId="Web-{76DC0A44-E514-89E4-7163-F0373D8CCF89}" dt="2023-07-06T18:59:19.030" v="33"/>
        <pc:sldMkLst>
          <pc:docMk/>
          <pc:sldMk cId="487430412" sldId="265"/>
        </pc:sldMkLst>
        <pc:spChg chg="mod">
          <ac:chgData name="Rogers, Amanda (OST)" userId="S::amanda.rogers@ad.dot.gov::75b2722b-6ec1-4bf8-8a17-c8c89c83c278" providerId="AD" clId="Web-{76DC0A44-E514-89E4-7163-F0373D8CCF89}" dt="2023-07-06T18:59:00.842" v="32" actId="1076"/>
          <ac:spMkLst>
            <pc:docMk/>
            <pc:sldMk cId="487430412" sldId="265"/>
            <ac:spMk id="3" creationId="{2F6F2982-EE22-647A-F469-C1DD492A2AA7}"/>
          </ac:spMkLst>
        </pc:spChg>
        <pc:spChg chg="mod">
          <ac:chgData name="Rogers, Amanda (OST)" userId="S::amanda.rogers@ad.dot.gov::75b2722b-6ec1-4bf8-8a17-c8c89c83c278" providerId="AD" clId="Web-{76DC0A44-E514-89E4-7163-F0373D8CCF89}" dt="2023-07-06T18:58:58.030" v="31" actId="1076"/>
          <ac:spMkLst>
            <pc:docMk/>
            <pc:sldMk cId="487430412" sldId="265"/>
            <ac:spMk id="5" creationId="{0B7F2933-5620-9D0B-73BF-B0592FED1F87}"/>
          </ac:spMkLst>
        </pc:spChg>
      </pc:sldChg>
      <pc:sldChg chg="modNotes">
        <pc:chgData name="Rogers, Amanda (OST)" userId="S::amanda.rogers@ad.dot.gov::75b2722b-6ec1-4bf8-8a17-c8c89c83c278" providerId="AD" clId="Web-{76DC0A44-E514-89E4-7163-F0373D8CCF89}" dt="2023-07-06T19:03:33.191" v="198"/>
        <pc:sldMkLst>
          <pc:docMk/>
          <pc:sldMk cId="1576277898" sldId="268"/>
        </pc:sldMkLst>
      </pc:sldChg>
      <pc:sldChg chg="modNotes">
        <pc:chgData name="Rogers, Amanda (OST)" userId="S::amanda.rogers@ad.dot.gov::75b2722b-6ec1-4bf8-8a17-c8c89c83c278" providerId="AD" clId="Web-{76DC0A44-E514-89E4-7163-F0373D8CCF89}" dt="2023-07-06T19:03:40.253" v="199"/>
        <pc:sldMkLst>
          <pc:docMk/>
          <pc:sldMk cId="3487385441" sldId="270"/>
        </pc:sldMkLst>
      </pc:sldChg>
      <pc:sldChg chg="modNotes">
        <pc:chgData name="Rogers, Amanda (OST)" userId="S::amanda.rogers@ad.dot.gov::75b2722b-6ec1-4bf8-8a17-c8c89c83c278" providerId="AD" clId="Web-{76DC0A44-E514-89E4-7163-F0373D8CCF89}" dt="2023-07-06T19:04:17.098" v="226"/>
        <pc:sldMkLst>
          <pc:docMk/>
          <pc:sldMk cId="2251441838" sldId="271"/>
        </pc:sldMkLst>
      </pc:sldChg>
      <pc:sldChg chg="modSp modNotes">
        <pc:chgData name="Rogers, Amanda (OST)" userId="S::amanda.rogers@ad.dot.gov::75b2722b-6ec1-4bf8-8a17-c8c89c83c278" providerId="AD" clId="Web-{76DC0A44-E514-89E4-7163-F0373D8CCF89}" dt="2023-07-06T19:29:46.062" v="735"/>
        <pc:sldMkLst>
          <pc:docMk/>
          <pc:sldMk cId="2479896660" sldId="273"/>
        </pc:sldMkLst>
        <pc:graphicFrameChg chg="mod modGraphic">
          <ac:chgData name="Rogers, Amanda (OST)" userId="S::amanda.rogers@ad.dot.gov::75b2722b-6ec1-4bf8-8a17-c8c89c83c278" providerId="AD" clId="Web-{76DC0A44-E514-89E4-7163-F0373D8CCF89}" dt="2023-07-06T19:29:15.217" v="704"/>
          <ac:graphicFrameMkLst>
            <pc:docMk/>
            <pc:sldMk cId="2479896660" sldId="273"/>
            <ac:graphicFrameMk id="8" creationId="{888B4329-4DBD-A2AD-9B7F-B1E6CA60E8F1}"/>
          </ac:graphicFrameMkLst>
        </pc:graphicFrameChg>
      </pc:sldChg>
      <pc:sldChg chg="del">
        <pc:chgData name="Rogers, Amanda (OST)" userId="S::amanda.rogers@ad.dot.gov::75b2722b-6ec1-4bf8-8a17-c8c89c83c278" providerId="AD" clId="Web-{76DC0A44-E514-89E4-7163-F0373D8CCF89}" dt="2023-07-06T19:00:30.594" v="100"/>
        <pc:sldMkLst>
          <pc:docMk/>
          <pc:sldMk cId="1110237483" sldId="274"/>
        </pc:sldMkLst>
      </pc:sldChg>
      <pc:sldChg chg="modNotes">
        <pc:chgData name="Rogers, Amanda (OST)" userId="S::amanda.rogers@ad.dot.gov::75b2722b-6ec1-4bf8-8a17-c8c89c83c278" providerId="AD" clId="Web-{76DC0A44-E514-89E4-7163-F0373D8CCF89}" dt="2023-07-06T19:03:17.300" v="162"/>
        <pc:sldMkLst>
          <pc:docMk/>
          <pc:sldMk cId="3800569280" sldId="279"/>
        </pc:sldMkLst>
      </pc:sldChg>
      <pc:sldChg chg="modSp modNotes">
        <pc:chgData name="Rogers, Amanda (OST)" userId="S::amanda.rogers@ad.dot.gov::75b2722b-6ec1-4bf8-8a17-c8c89c83c278" providerId="AD" clId="Web-{76DC0A44-E514-89E4-7163-F0373D8CCF89}" dt="2023-07-06T19:01:48.251" v="139" actId="20577"/>
        <pc:sldMkLst>
          <pc:docMk/>
          <pc:sldMk cId="1083821306" sldId="280"/>
        </pc:sldMkLst>
        <pc:spChg chg="mod">
          <ac:chgData name="Rogers, Amanda (OST)" userId="S::amanda.rogers@ad.dot.gov::75b2722b-6ec1-4bf8-8a17-c8c89c83c278" providerId="AD" clId="Web-{76DC0A44-E514-89E4-7163-F0373D8CCF89}" dt="2023-07-06T19:01:48.251" v="139" actId="20577"/>
          <ac:spMkLst>
            <pc:docMk/>
            <pc:sldMk cId="1083821306" sldId="280"/>
            <ac:spMk id="11" creationId="{18DB7ABC-11EE-4A87-AEF9-50B5D0BEF381}"/>
          </ac:spMkLst>
        </pc:spChg>
      </pc:sldChg>
      <pc:sldChg chg="modNotes">
        <pc:chgData name="Rogers, Amanda (OST)" userId="S::amanda.rogers@ad.dot.gov::75b2722b-6ec1-4bf8-8a17-c8c89c83c278" providerId="AD" clId="Web-{76DC0A44-E514-89E4-7163-F0373D8CCF89}" dt="2023-07-06T19:00:56.532" v="114"/>
        <pc:sldMkLst>
          <pc:docMk/>
          <pc:sldMk cId="4211693385" sldId="282"/>
        </pc:sldMkLst>
      </pc:sldChg>
      <pc:sldChg chg="modNotes">
        <pc:chgData name="Rogers, Amanda (OST)" userId="S::amanda.rogers@ad.dot.gov::75b2722b-6ec1-4bf8-8a17-c8c89c83c278" providerId="AD" clId="Web-{76DC0A44-E514-89E4-7163-F0373D8CCF89}" dt="2023-07-06T19:01:03.454" v="117"/>
        <pc:sldMkLst>
          <pc:docMk/>
          <pc:sldMk cId="4095912999" sldId="283"/>
        </pc:sldMkLst>
      </pc:sldChg>
      <pc:sldChg chg="modNotes">
        <pc:chgData name="Rogers, Amanda (OST)" userId="S::amanda.rogers@ad.dot.gov::75b2722b-6ec1-4bf8-8a17-c8c89c83c278" providerId="AD" clId="Web-{76DC0A44-E514-89E4-7163-F0373D8CCF89}" dt="2023-07-06T18:59:38.640" v="60"/>
        <pc:sldMkLst>
          <pc:docMk/>
          <pc:sldMk cId="1347974019" sldId="285"/>
        </pc:sldMkLst>
      </pc:sldChg>
      <pc:sldChg chg="modNotes">
        <pc:chgData name="Rogers, Amanda (OST)" userId="S::amanda.rogers@ad.dot.gov::75b2722b-6ec1-4bf8-8a17-c8c89c83c278" providerId="AD" clId="Web-{76DC0A44-E514-89E4-7163-F0373D8CCF89}" dt="2023-07-06T18:59:36.233" v="59"/>
        <pc:sldMkLst>
          <pc:docMk/>
          <pc:sldMk cId="2783464704" sldId="286"/>
        </pc:sldMkLst>
      </pc:sldChg>
      <pc:sldChg chg="modNotes">
        <pc:chgData name="Rogers, Amanda (OST)" userId="S::amanda.rogers@ad.dot.gov::75b2722b-6ec1-4bf8-8a17-c8c89c83c278" providerId="AD" clId="Web-{76DC0A44-E514-89E4-7163-F0373D8CCF89}" dt="2023-07-06T19:00:25.688" v="99"/>
        <pc:sldMkLst>
          <pc:docMk/>
          <pc:sldMk cId="1486261688" sldId="287"/>
        </pc:sldMkLst>
      </pc:sldChg>
      <pc:sldChg chg="modNotes">
        <pc:chgData name="Rogers, Amanda (OST)" userId="S::amanda.rogers@ad.dot.gov::75b2722b-6ec1-4bf8-8a17-c8c89c83c278" providerId="AD" clId="Web-{76DC0A44-E514-89E4-7163-F0373D8CCF89}" dt="2023-07-06T18:58:19.466" v="24"/>
        <pc:sldMkLst>
          <pc:docMk/>
          <pc:sldMk cId="1757325323" sldId="288"/>
        </pc:sldMkLst>
      </pc:sldChg>
      <pc:sldChg chg="add del">
        <pc:chgData name="Rogers, Amanda (OST)" userId="S::amanda.rogers@ad.dot.gov::75b2722b-6ec1-4bf8-8a17-c8c89c83c278" providerId="AD" clId="Web-{76DC0A44-E514-89E4-7163-F0373D8CCF89}" dt="2023-07-06T19:31:54.376" v="739"/>
        <pc:sldMkLst>
          <pc:docMk/>
          <pc:sldMk cId="382549865" sldId="289"/>
        </pc:sldMkLst>
      </pc:sldChg>
    </pc:docChg>
  </pc:docChgLst>
  <pc:docChgLst>
    <pc:chgData name="Rogers, Amanda (OST)" userId="S::amanda.rogers@ad.dot.gov::75b2722b-6ec1-4bf8-8a17-c8c89c83c278" providerId="AD" clId="Web-{7C79AC5B-258A-6103-E343-2C0365ECC429}"/>
    <pc:docChg chg="addSld delSld modSld addMainMaster modMainMaster">
      <pc:chgData name="Rogers, Amanda (OST)" userId="S::amanda.rogers@ad.dot.gov::75b2722b-6ec1-4bf8-8a17-c8c89c83c278" providerId="AD" clId="Web-{7C79AC5B-258A-6103-E343-2C0365ECC429}" dt="2023-07-06T15:46:21.035" v="139"/>
      <pc:docMkLst>
        <pc:docMk/>
      </pc:docMkLst>
      <pc:sldChg chg="del">
        <pc:chgData name="Rogers, Amanda (OST)" userId="S::amanda.rogers@ad.dot.gov::75b2722b-6ec1-4bf8-8a17-c8c89c83c278" providerId="AD" clId="Web-{7C79AC5B-258A-6103-E343-2C0365ECC429}" dt="2023-07-06T15:37:25.514" v="1"/>
        <pc:sldMkLst>
          <pc:docMk/>
          <pc:sldMk cId="1596142178" sldId="257"/>
        </pc:sldMkLst>
      </pc:sldChg>
      <pc:sldChg chg="modSp add">
        <pc:chgData name="Rogers, Amanda (OST)" userId="S::amanda.rogers@ad.dot.gov::75b2722b-6ec1-4bf8-8a17-c8c89c83c278" providerId="AD" clId="Web-{7C79AC5B-258A-6103-E343-2C0365ECC429}" dt="2023-07-06T15:37:50.093" v="23" actId="14100"/>
        <pc:sldMkLst>
          <pc:docMk/>
          <pc:sldMk cId="239497448" sldId="258"/>
        </pc:sldMkLst>
        <pc:spChg chg="mod">
          <ac:chgData name="Rogers, Amanda (OST)" userId="S::amanda.rogers@ad.dot.gov::75b2722b-6ec1-4bf8-8a17-c8c89c83c278" providerId="AD" clId="Web-{7C79AC5B-258A-6103-E343-2C0365ECC429}" dt="2023-07-06T15:37:50.093" v="23" actId="14100"/>
          <ac:spMkLst>
            <pc:docMk/>
            <pc:sldMk cId="239497448" sldId="258"/>
            <ac:spMk id="3" creationId="{00000000-0000-0000-0000-000000000000}"/>
          </ac:spMkLst>
        </pc:spChg>
      </pc:sldChg>
      <pc:sldChg chg="add">
        <pc:chgData name="Rogers, Amanda (OST)" userId="S::amanda.rogers@ad.dot.gov::75b2722b-6ec1-4bf8-8a17-c8c89c83c278" providerId="AD" clId="Web-{7C79AC5B-258A-6103-E343-2C0365ECC429}" dt="2023-07-06T15:37:59.405" v="24"/>
        <pc:sldMkLst>
          <pc:docMk/>
          <pc:sldMk cId="857635325" sldId="259"/>
        </pc:sldMkLst>
      </pc:sldChg>
      <pc:sldChg chg="add">
        <pc:chgData name="Rogers, Amanda (OST)" userId="S::amanda.rogers@ad.dot.gov::75b2722b-6ec1-4bf8-8a17-c8c89c83c278" providerId="AD" clId="Web-{7C79AC5B-258A-6103-E343-2C0365ECC429}" dt="2023-07-06T15:38:04.765" v="25"/>
        <pc:sldMkLst>
          <pc:docMk/>
          <pc:sldMk cId="1337669140" sldId="260"/>
        </pc:sldMkLst>
      </pc:sldChg>
      <pc:sldChg chg="add">
        <pc:chgData name="Rogers, Amanda (OST)" userId="S::amanda.rogers@ad.dot.gov::75b2722b-6ec1-4bf8-8a17-c8c89c83c278" providerId="AD" clId="Web-{7C79AC5B-258A-6103-E343-2C0365ECC429}" dt="2023-07-06T15:38:12.046" v="26"/>
        <pc:sldMkLst>
          <pc:docMk/>
          <pc:sldMk cId="30643072" sldId="261"/>
        </pc:sldMkLst>
      </pc:sldChg>
      <pc:sldChg chg="add">
        <pc:chgData name="Rogers, Amanda (OST)" userId="S::amanda.rogers@ad.dot.gov::75b2722b-6ec1-4bf8-8a17-c8c89c83c278" providerId="AD" clId="Web-{7C79AC5B-258A-6103-E343-2C0365ECC429}" dt="2023-07-06T15:38:17.483" v="27"/>
        <pc:sldMkLst>
          <pc:docMk/>
          <pc:sldMk cId="3104219036" sldId="262"/>
        </pc:sldMkLst>
      </pc:sldChg>
      <pc:sldChg chg="add">
        <pc:chgData name="Rogers, Amanda (OST)" userId="S::amanda.rogers@ad.dot.gov::75b2722b-6ec1-4bf8-8a17-c8c89c83c278" providerId="AD" clId="Web-{7C79AC5B-258A-6103-E343-2C0365ECC429}" dt="2023-07-06T15:38:21.921" v="28"/>
        <pc:sldMkLst>
          <pc:docMk/>
          <pc:sldMk cId="1703308743" sldId="263"/>
        </pc:sldMkLst>
      </pc:sldChg>
      <pc:sldChg chg="add modNotes">
        <pc:chgData name="Rogers, Amanda (OST)" userId="S::amanda.rogers@ad.dot.gov::75b2722b-6ec1-4bf8-8a17-c8c89c83c278" providerId="AD" clId="Web-{7C79AC5B-258A-6103-E343-2C0365ECC429}" dt="2023-07-06T15:44:18.800" v="125"/>
        <pc:sldMkLst>
          <pc:docMk/>
          <pc:sldMk cId="2285718496" sldId="264"/>
        </pc:sldMkLst>
      </pc:sldChg>
      <pc:sldChg chg="add">
        <pc:chgData name="Rogers, Amanda (OST)" userId="S::amanda.rogers@ad.dot.gov::75b2722b-6ec1-4bf8-8a17-c8c89c83c278" providerId="AD" clId="Web-{7C79AC5B-258A-6103-E343-2C0365ECC429}" dt="2023-07-06T15:38:33.171" v="30"/>
        <pc:sldMkLst>
          <pc:docMk/>
          <pc:sldMk cId="487430412" sldId="265"/>
        </pc:sldMkLst>
      </pc:sldChg>
      <pc:sldChg chg="add">
        <pc:chgData name="Rogers, Amanda (OST)" userId="S::amanda.rogers@ad.dot.gov::75b2722b-6ec1-4bf8-8a17-c8c89c83c278" providerId="AD" clId="Web-{7C79AC5B-258A-6103-E343-2C0365ECC429}" dt="2023-07-06T15:38:38.671" v="31"/>
        <pc:sldMkLst>
          <pc:docMk/>
          <pc:sldMk cId="2634398186" sldId="266"/>
        </pc:sldMkLst>
      </pc:sldChg>
      <pc:sldChg chg="add">
        <pc:chgData name="Rogers, Amanda (OST)" userId="S::amanda.rogers@ad.dot.gov::75b2722b-6ec1-4bf8-8a17-c8c89c83c278" providerId="AD" clId="Web-{7C79AC5B-258A-6103-E343-2C0365ECC429}" dt="2023-07-06T15:38:43.124" v="32"/>
        <pc:sldMkLst>
          <pc:docMk/>
          <pc:sldMk cId="3150764723" sldId="267"/>
        </pc:sldMkLst>
      </pc:sldChg>
      <pc:sldChg chg="add">
        <pc:chgData name="Rogers, Amanda (OST)" userId="S::amanda.rogers@ad.dot.gov::75b2722b-6ec1-4bf8-8a17-c8c89c83c278" providerId="AD" clId="Web-{7C79AC5B-258A-6103-E343-2C0365ECC429}" dt="2023-07-06T15:38:47.999" v="33"/>
        <pc:sldMkLst>
          <pc:docMk/>
          <pc:sldMk cId="1576277898" sldId="268"/>
        </pc:sldMkLst>
      </pc:sldChg>
      <pc:sldChg chg="add">
        <pc:chgData name="Rogers, Amanda (OST)" userId="S::amanda.rogers@ad.dot.gov::75b2722b-6ec1-4bf8-8a17-c8c89c83c278" providerId="AD" clId="Web-{7C79AC5B-258A-6103-E343-2C0365ECC429}" dt="2023-07-06T15:38:52.328" v="34"/>
        <pc:sldMkLst>
          <pc:docMk/>
          <pc:sldMk cId="2832665021" sldId="269"/>
        </pc:sldMkLst>
      </pc:sldChg>
      <pc:sldChg chg="add">
        <pc:chgData name="Rogers, Amanda (OST)" userId="S::amanda.rogers@ad.dot.gov::75b2722b-6ec1-4bf8-8a17-c8c89c83c278" providerId="AD" clId="Web-{7C79AC5B-258A-6103-E343-2C0365ECC429}" dt="2023-07-06T15:39:00.343" v="35"/>
        <pc:sldMkLst>
          <pc:docMk/>
          <pc:sldMk cId="3487385441" sldId="270"/>
        </pc:sldMkLst>
      </pc:sldChg>
      <pc:sldChg chg="add">
        <pc:chgData name="Rogers, Amanda (OST)" userId="S::amanda.rogers@ad.dot.gov::75b2722b-6ec1-4bf8-8a17-c8c89c83c278" providerId="AD" clId="Web-{7C79AC5B-258A-6103-E343-2C0365ECC429}" dt="2023-07-06T15:39:20.703" v="36"/>
        <pc:sldMkLst>
          <pc:docMk/>
          <pc:sldMk cId="2251441838" sldId="271"/>
        </pc:sldMkLst>
      </pc:sldChg>
      <pc:sldChg chg="add">
        <pc:chgData name="Rogers, Amanda (OST)" userId="S::amanda.rogers@ad.dot.gov::75b2722b-6ec1-4bf8-8a17-c8c89c83c278" providerId="AD" clId="Web-{7C79AC5B-258A-6103-E343-2C0365ECC429}" dt="2023-07-06T15:39:46.203" v="37"/>
        <pc:sldMkLst>
          <pc:docMk/>
          <pc:sldMk cId="2292302954" sldId="272"/>
        </pc:sldMkLst>
      </pc:sldChg>
      <pc:sldChg chg="add">
        <pc:chgData name="Rogers, Amanda (OST)" userId="S::amanda.rogers@ad.dot.gov::75b2722b-6ec1-4bf8-8a17-c8c89c83c278" providerId="AD" clId="Web-{7C79AC5B-258A-6103-E343-2C0365ECC429}" dt="2023-07-06T15:39:52.156" v="38"/>
        <pc:sldMkLst>
          <pc:docMk/>
          <pc:sldMk cId="2479896660" sldId="273"/>
        </pc:sldMkLst>
      </pc:sldChg>
      <pc:sldChg chg="add">
        <pc:chgData name="Rogers, Amanda (OST)" userId="S::amanda.rogers@ad.dot.gov::75b2722b-6ec1-4bf8-8a17-c8c89c83c278" providerId="AD" clId="Web-{7C79AC5B-258A-6103-E343-2C0365ECC429}" dt="2023-07-06T15:39:57.234" v="39"/>
        <pc:sldMkLst>
          <pc:docMk/>
          <pc:sldMk cId="1110237483" sldId="274"/>
        </pc:sldMkLst>
      </pc:sldChg>
      <pc:sldChg chg="add del">
        <pc:chgData name="Rogers, Amanda (OST)" userId="S::amanda.rogers@ad.dot.gov::75b2722b-6ec1-4bf8-8a17-c8c89c83c278" providerId="AD" clId="Web-{7C79AC5B-258A-6103-E343-2C0365ECC429}" dt="2023-07-06T15:41:20.985" v="49"/>
        <pc:sldMkLst>
          <pc:docMk/>
          <pc:sldMk cId="3254150075" sldId="275"/>
        </pc:sldMkLst>
      </pc:sldChg>
      <pc:sldChg chg="add del">
        <pc:chgData name="Rogers, Amanda (OST)" userId="S::amanda.rogers@ad.dot.gov::75b2722b-6ec1-4bf8-8a17-c8c89c83c278" providerId="AD" clId="Web-{7C79AC5B-258A-6103-E343-2C0365ECC429}" dt="2023-07-06T15:41:36.517" v="51"/>
        <pc:sldMkLst>
          <pc:docMk/>
          <pc:sldMk cId="228919261" sldId="276"/>
        </pc:sldMkLst>
      </pc:sldChg>
      <pc:sldChg chg="add">
        <pc:chgData name="Rogers, Amanda (OST)" userId="S::amanda.rogers@ad.dot.gov::75b2722b-6ec1-4bf8-8a17-c8c89c83c278" providerId="AD" clId="Web-{7C79AC5B-258A-6103-E343-2C0365ECC429}" dt="2023-07-06T15:40:21.610" v="42"/>
        <pc:sldMkLst>
          <pc:docMk/>
          <pc:sldMk cId="2866769803" sldId="277"/>
        </pc:sldMkLst>
      </pc:sldChg>
      <pc:sldChg chg="add">
        <pc:chgData name="Rogers, Amanda (OST)" userId="S::amanda.rogers@ad.dot.gov::75b2722b-6ec1-4bf8-8a17-c8c89c83c278" providerId="AD" clId="Web-{7C79AC5B-258A-6103-E343-2C0365ECC429}" dt="2023-07-06T15:40:26.735" v="43"/>
        <pc:sldMkLst>
          <pc:docMk/>
          <pc:sldMk cId="946838486" sldId="278"/>
        </pc:sldMkLst>
      </pc:sldChg>
      <pc:sldChg chg="add del">
        <pc:chgData name="Rogers, Amanda (OST)" userId="S::amanda.rogers@ad.dot.gov::75b2722b-6ec1-4bf8-8a17-c8c89c83c278" providerId="AD" clId="Web-{7C79AC5B-258A-6103-E343-2C0365ECC429}" dt="2023-07-06T15:40:51.844" v="45"/>
        <pc:sldMkLst>
          <pc:docMk/>
          <pc:sldMk cId="2363609393" sldId="279"/>
        </pc:sldMkLst>
      </pc:sldChg>
      <pc:sldChg chg="add">
        <pc:chgData name="Rogers, Amanda (OST)" userId="S::amanda.rogers@ad.dot.gov::75b2722b-6ec1-4bf8-8a17-c8c89c83c278" providerId="AD" clId="Web-{7C79AC5B-258A-6103-E343-2C0365ECC429}" dt="2023-07-06T15:40:55.407" v="46"/>
        <pc:sldMkLst>
          <pc:docMk/>
          <pc:sldMk cId="3800569280" sldId="279"/>
        </pc:sldMkLst>
      </pc:sldChg>
      <pc:sldChg chg="add">
        <pc:chgData name="Rogers, Amanda (OST)" userId="S::amanda.rogers@ad.dot.gov::75b2722b-6ec1-4bf8-8a17-c8c89c83c278" providerId="AD" clId="Web-{7C79AC5B-258A-6103-E343-2C0365ECC429}" dt="2023-07-06T15:41:04.454" v="47"/>
        <pc:sldMkLst>
          <pc:docMk/>
          <pc:sldMk cId="1083821306" sldId="280"/>
        </pc:sldMkLst>
      </pc:sldChg>
      <pc:sldChg chg="add">
        <pc:chgData name="Rogers, Amanda (OST)" userId="S::amanda.rogers@ad.dot.gov::75b2722b-6ec1-4bf8-8a17-c8c89c83c278" providerId="AD" clId="Web-{7C79AC5B-258A-6103-E343-2C0365ECC429}" dt="2023-07-06T15:41:11.751" v="48"/>
        <pc:sldMkLst>
          <pc:docMk/>
          <pc:sldMk cId="1081031505" sldId="281"/>
        </pc:sldMkLst>
      </pc:sldChg>
      <pc:sldChg chg="add mod modShow">
        <pc:chgData name="Rogers, Amanda (OST)" userId="S::amanda.rogers@ad.dot.gov::75b2722b-6ec1-4bf8-8a17-c8c89c83c278" providerId="AD" clId="Web-{7C79AC5B-258A-6103-E343-2C0365ECC429}" dt="2023-07-06T15:41:41.001" v="52"/>
        <pc:sldMkLst>
          <pc:docMk/>
          <pc:sldMk cId="4211693385" sldId="282"/>
        </pc:sldMkLst>
      </pc:sldChg>
      <pc:sldChg chg="add mod modShow">
        <pc:chgData name="Rogers, Amanda (OST)" userId="S::amanda.rogers@ad.dot.gov::75b2722b-6ec1-4bf8-8a17-c8c89c83c278" providerId="AD" clId="Web-{7C79AC5B-258A-6103-E343-2C0365ECC429}" dt="2023-07-06T15:41:46.517" v="54"/>
        <pc:sldMkLst>
          <pc:docMk/>
          <pc:sldMk cId="4095912999" sldId="283"/>
        </pc:sldMkLst>
      </pc:sldChg>
      <pc:sldChg chg="add">
        <pc:chgData name="Rogers, Amanda (OST)" userId="S::amanda.rogers@ad.dot.gov::75b2722b-6ec1-4bf8-8a17-c8c89c83c278" providerId="AD" clId="Web-{7C79AC5B-258A-6103-E343-2C0365ECC429}" dt="2023-07-06T15:42:05.923" v="55"/>
        <pc:sldMkLst>
          <pc:docMk/>
          <pc:sldMk cId="3039798694" sldId="284"/>
        </pc:sldMkLst>
      </pc:sldChg>
      <pc:sldChg chg="add">
        <pc:chgData name="Rogers, Amanda (OST)" userId="S::amanda.rogers@ad.dot.gov::75b2722b-6ec1-4bf8-8a17-c8c89c83c278" providerId="AD" clId="Web-{7C79AC5B-258A-6103-E343-2C0365ECC429}" dt="2023-07-06T15:45:06.175" v="136"/>
        <pc:sldMkLst>
          <pc:docMk/>
          <pc:sldMk cId="1347974019" sldId="285"/>
        </pc:sldMkLst>
      </pc:sldChg>
      <pc:sldChg chg="add del">
        <pc:chgData name="Rogers, Amanda (OST)" userId="S::amanda.rogers@ad.dot.gov::75b2722b-6ec1-4bf8-8a17-c8c89c83c278" providerId="AD" clId="Web-{7C79AC5B-258A-6103-E343-2C0365ECC429}" dt="2023-07-06T15:44:20.206" v="126"/>
        <pc:sldMkLst>
          <pc:docMk/>
          <pc:sldMk cId="4205300136" sldId="285"/>
        </pc:sldMkLst>
      </pc:sldChg>
      <pc:sldChg chg="add">
        <pc:chgData name="Rogers, Amanda (OST)" userId="S::amanda.rogers@ad.dot.gov::75b2722b-6ec1-4bf8-8a17-c8c89c83c278" providerId="AD" clId="Web-{7C79AC5B-258A-6103-E343-2C0365ECC429}" dt="2023-07-06T15:45:11.753" v="137"/>
        <pc:sldMkLst>
          <pc:docMk/>
          <pc:sldMk cId="2783464704" sldId="286"/>
        </pc:sldMkLst>
      </pc:sldChg>
      <pc:sldChg chg="add del">
        <pc:chgData name="Rogers, Amanda (OST)" userId="S::amanda.rogers@ad.dot.gov::75b2722b-6ec1-4bf8-8a17-c8c89c83c278" providerId="AD" clId="Web-{7C79AC5B-258A-6103-E343-2C0365ECC429}" dt="2023-07-06T15:44:23.018" v="127"/>
        <pc:sldMkLst>
          <pc:docMk/>
          <pc:sldMk cId="3526474603" sldId="286"/>
        </pc:sldMkLst>
      </pc:sldChg>
      <pc:sldChg chg="add">
        <pc:chgData name="Rogers, Amanda (OST)" userId="S::amanda.rogers@ad.dot.gov::75b2722b-6ec1-4bf8-8a17-c8c89c83c278" providerId="AD" clId="Web-{7C79AC5B-258A-6103-E343-2C0365ECC429}" dt="2023-07-06T15:45:39.550" v="138"/>
        <pc:sldMkLst>
          <pc:docMk/>
          <pc:sldMk cId="1486261688" sldId="287"/>
        </pc:sldMkLst>
      </pc:sldChg>
      <pc:sldChg chg="add del">
        <pc:chgData name="Rogers, Amanda (OST)" userId="S::amanda.rogers@ad.dot.gov::75b2722b-6ec1-4bf8-8a17-c8c89c83c278" providerId="AD" clId="Web-{7C79AC5B-258A-6103-E343-2C0365ECC429}" dt="2023-07-06T15:44:24.034" v="128"/>
        <pc:sldMkLst>
          <pc:docMk/>
          <pc:sldMk cId="2807046536" sldId="287"/>
        </pc:sldMkLst>
      </pc:sldChg>
      <pc:sldChg chg="add">
        <pc:chgData name="Rogers, Amanda (OST)" userId="S::amanda.rogers@ad.dot.gov::75b2722b-6ec1-4bf8-8a17-c8c89c83c278" providerId="AD" clId="Web-{7C79AC5B-258A-6103-E343-2C0365ECC429}" dt="2023-07-06T15:46:21.035" v="139"/>
        <pc:sldMkLst>
          <pc:docMk/>
          <pc:sldMk cId="1757325323" sldId="288"/>
        </pc:sldMkLst>
      </pc:sldChg>
      <pc:sldChg chg="add del">
        <pc:chgData name="Rogers, Amanda (OST)" userId="S::amanda.rogers@ad.dot.gov::75b2722b-6ec1-4bf8-8a17-c8c89c83c278" providerId="AD" clId="Web-{7C79AC5B-258A-6103-E343-2C0365ECC429}" dt="2023-07-06T15:44:26.893" v="129"/>
        <pc:sldMkLst>
          <pc:docMk/>
          <pc:sldMk cId="1987703048" sldId="288"/>
        </pc:sldMkLst>
      </pc:sldChg>
      <pc:sldChg chg="add del">
        <pc:chgData name="Rogers, Amanda (OST)" userId="S::amanda.rogers@ad.dot.gov::75b2722b-6ec1-4bf8-8a17-c8c89c83c278" providerId="AD" clId="Web-{7C79AC5B-258A-6103-E343-2C0365ECC429}" dt="2023-07-06T15:44:28.675" v="130"/>
        <pc:sldMkLst>
          <pc:docMk/>
          <pc:sldMk cId="2657715181" sldId="289"/>
        </pc:sldMkLst>
      </pc:sldChg>
      <pc:sldChg chg="add del">
        <pc:chgData name="Rogers, Amanda (OST)" userId="S::amanda.rogers@ad.dot.gov::75b2722b-6ec1-4bf8-8a17-c8c89c83c278" providerId="AD" clId="Web-{7C79AC5B-258A-6103-E343-2C0365ECC429}" dt="2023-07-06T15:44:29.690" v="131"/>
        <pc:sldMkLst>
          <pc:docMk/>
          <pc:sldMk cId="2964705001" sldId="290"/>
        </pc:sldMkLst>
      </pc:sldChg>
      <pc:sldChg chg="add del">
        <pc:chgData name="Rogers, Amanda (OST)" userId="S::amanda.rogers@ad.dot.gov::75b2722b-6ec1-4bf8-8a17-c8c89c83c278" providerId="AD" clId="Web-{7C79AC5B-258A-6103-E343-2C0365ECC429}" dt="2023-07-06T15:44:30.237" v="132"/>
        <pc:sldMkLst>
          <pc:docMk/>
          <pc:sldMk cId="1778006332" sldId="291"/>
        </pc:sldMkLst>
      </pc:sldChg>
      <pc:sldChg chg="add del">
        <pc:chgData name="Rogers, Amanda (OST)" userId="S::amanda.rogers@ad.dot.gov::75b2722b-6ec1-4bf8-8a17-c8c89c83c278" providerId="AD" clId="Web-{7C79AC5B-258A-6103-E343-2C0365ECC429}" dt="2023-07-06T15:44:30.456" v="133"/>
        <pc:sldMkLst>
          <pc:docMk/>
          <pc:sldMk cId="919012488" sldId="292"/>
        </pc:sldMkLst>
      </pc:sldChg>
      <pc:sldChg chg="add del">
        <pc:chgData name="Rogers, Amanda (OST)" userId="S::amanda.rogers@ad.dot.gov::75b2722b-6ec1-4bf8-8a17-c8c89c83c278" providerId="AD" clId="Web-{7C79AC5B-258A-6103-E343-2C0365ECC429}" dt="2023-07-06T15:44:31.722" v="134"/>
        <pc:sldMkLst>
          <pc:docMk/>
          <pc:sldMk cId="667503252" sldId="293"/>
        </pc:sldMkLst>
      </pc:sldChg>
      <pc:sldChg chg="add del">
        <pc:chgData name="Rogers, Amanda (OST)" userId="S::amanda.rogers@ad.dot.gov::75b2722b-6ec1-4bf8-8a17-c8c89c83c278" providerId="AD" clId="Web-{7C79AC5B-258A-6103-E343-2C0365ECC429}" dt="2023-07-06T15:44:34.691" v="135"/>
        <pc:sldMkLst>
          <pc:docMk/>
          <pc:sldMk cId="271776881" sldId="294"/>
        </pc:sldMkLst>
      </pc:sldChg>
      <pc:sldMasterChg chg="add addSldLayout">
        <pc:chgData name="Rogers, Amanda (OST)" userId="S::amanda.rogers@ad.dot.gov::75b2722b-6ec1-4bf8-8a17-c8c89c83c278" providerId="AD" clId="Web-{7C79AC5B-258A-6103-E343-2C0365ECC429}" dt="2023-07-06T15:42:54.471" v="56"/>
        <pc:sldMasterMkLst>
          <pc:docMk/>
          <pc:sldMasterMk cId="2122263373" sldId="2147483660"/>
        </pc:sldMasterMkLst>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658715614" sldId="2147483661"/>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160562598" sldId="2147483662"/>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2211456" sldId="2147483663"/>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290270986" sldId="2147483664"/>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954269020" sldId="2147483665"/>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125365343" sldId="2147483666"/>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686258588" sldId="2147483667"/>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997518621" sldId="2147483668"/>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691897465" sldId="2147483669"/>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041230961" sldId="2147483670"/>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287023153" sldId="2147483671"/>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195284386" sldId="2147483672"/>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679711188" sldId="2147483673"/>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034116678" sldId="2147483674"/>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637858578" sldId="2147483675"/>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832786161" sldId="2147483676"/>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86986042" sldId="2147483677"/>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046292806" sldId="2147483678"/>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65546720" sldId="2147483679"/>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757719034" sldId="2147483680"/>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642464973" sldId="2147483696"/>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730902655" sldId="2147483697"/>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204309087" sldId="2147483698"/>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714766365" sldId="2147483699"/>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255185279" sldId="2147483700"/>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56153006" sldId="2147483701"/>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54514651" sldId="2147483703"/>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27474850" sldId="2147483704"/>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959190852" sldId="2147483953"/>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678081010" sldId="2147483954"/>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099820930" sldId="2147483955"/>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222491713" sldId="2147483956"/>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698704672" sldId="2147483957"/>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46471713" sldId="2147483958"/>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1057643007" sldId="2147483959"/>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4171789256" sldId="2147483960"/>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498354641" sldId="2147483961"/>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785472159" sldId="2147483962"/>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659534514" sldId="2147483963"/>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872237704" sldId="2147483964"/>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654173061" sldId="2147483965"/>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3006413301" sldId="2147483966"/>
          </pc:sldLayoutMkLst>
        </pc:sldLayoutChg>
        <pc:sldLayoutChg chg="add">
          <pc:chgData name="Rogers, Amanda (OST)" userId="S::amanda.rogers@ad.dot.gov::75b2722b-6ec1-4bf8-8a17-c8c89c83c278" providerId="AD" clId="Web-{7C79AC5B-258A-6103-E343-2C0365ECC429}" dt="2023-07-06T15:42:54.471" v="56"/>
          <pc:sldLayoutMkLst>
            <pc:docMk/>
            <pc:sldMasterMk cId="2122263373" sldId="2147483660"/>
            <pc:sldLayoutMk cId="2689169607" sldId="2147483967"/>
          </pc:sldLayoutMkLst>
        </pc:sldLayoutChg>
      </pc:sldMasterChg>
      <pc:sldMasterChg chg="add addSldLayout">
        <pc:chgData name="Rogers, Amanda (OST)" userId="S::amanda.rogers@ad.dot.gov::75b2722b-6ec1-4bf8-8a17-c8c89c83c278" providerId="AD" clId="Web-{7C79AC5B-258A-6103-E343-2C0365ECC429}" dt="2023-07-06T15:39:52.156" v="38"/>
        <pc:sldMasterMkLst>
          <pc:docMk/>
          <pc:sldMasterMk cId="1236846239" sldId="2147483752"/>
        </pc:sldMasterMkLst>
        <pc:sldLayoutChg chg="add">
          <pc:chgData name="Rogers, Amanda (OST)" userId="S::amanda.rogers@ad.dot.gov::75b2722b-6ec1-4bf8-8a17-c8c89c83c278" providerId="AD" clId="Web-{7C79AC5B-258A-6103-E343-2C0365ECC429}" dt="2023-07-06T15:39:52.156" v="38"/>
          <pc:sldLayoutMkLst>
            <pc:docMk/>
            <pc:sldMasterMk cId="1236846239" sldId="2147483752"/>
            <pc:sldLayoutMk cId="3653331765" sldId="2147483753"/>
          </pc:sldLayoutMkLst>
        </pc:sldLayoutChg>
        <pc:sldLayoutChg chg="add">
          <pc:chgData name="Rogers, Amanda (OST)" userId="S::amanda.rogers@ad.dot.gov::75b2722b-6ec1-4bf8-8a17-c8c89c83c278" providerId="AD" clId="Web-{7C79AC5B-258A-6103-E343-2C0365ECC429}" dt="2023-07-06T15:39:52.156" v="38"/>
          <pc:sldLayoutMkLst>
            <pc:docMk/>
            <pc:sldMasterMk cId="1236846239" sldId="2147483752"/>
            <pc:sldLayoutMk cId="2227517562" sldId="2147483754"/>
          </pc:sldLayoutMkLst>
        </pc:sldLayoutChg>
        <pc:sldLayoutChg chg="add">
          <pc:chgData name="Rogers, Amanda (OST)" userId="S::amanda.rogers@ad.dot.gov::75b2722b-6ec1-4bf8-8a17-c8c89c83c278" providerId="AD" clId="Web-{7C79AC5B-258A-6103-E343-2C0365ECC429}" dt="2023-07-06T15:39:52.156" v="38"/>
          <pc:sldLayoutMkLst>
            <pc:docMk/>
            <pc:sldMasterMk cId="1236846239" sldId="2147483752"/>
            <pc:sldLayoutMk cId="2718791877" sldId="2147483755"/>
          </pc:sldLayoutMkLst>
        </pc:sldLayoutChg>
        <pc:sldLayoutChg chg="add">
          <pc:chgData name="Rogers, Amanda (OST)" userId="S::amanda.rogers@ad.dot.gov::75b2722b-6ec1-4bf8-8a17-c8c89c83c278" providerId="AD" clId="Web-{7C79AC5B-258A-6103-E343-2C0365ECC429}" dt="2023-07-06T15:39:52.156" v="38"/>
          <pc:sldLayoutMkLst>
            <pc:docMk/>
            <pc:sldMasterMk cId="1236846239" sldId="2147483752"/>
            <pc:sldLayoutMk cId="576606877" sldId="2147483912"/>
          </pc:sldLayoutMkLst>
        </pc:sldLayoutChg>
      </pc:sldMasterChg>
      <pc:sldMasterChg chg="add addSldLayout">
        <pc:chgData name="Rogers, Amanda (OST)" userId="S::amanda.rogers@ad.dot.gov::75b2722b-6ec1-4bf8-8a17-c8c89c83c278" providerId="AD" clId="Web-{7C79AC5B-258A-6103-E343-2C0365ECC429}" dt="2023-07-06T15:37:22.905" v="0"/>
        <pc:sldMasterMkLst>
          <pc:docMk/>
          <pc:sldMasterMk cId="3411620979" sldId="2147483913"/>
        </pc:sldMasterMkLst>
        <pc:sldLayoutChg chg="add">
          <pc:chgData name="Rogers, Amanda (OST)" userId="S::amanda.rogers@ad.dot.gov::75b2722b-6ec1-4bf8-8a17-c8c89c83c278" providerId="AD" clId="Web-{7C79AC5B-258A-6103-E343-2C0365ECC429}" dt="2023-07-06T15:37:22.905" v="0"/>
          <pc:sldLayoutMkLst>
            <pc:docMk/>
            <pc:sldMasterMk cId="3411620979" sldId="2147483913"/>
            <pc:sldLayoutMk cId="639448327" sldId="2147483914"/>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1406945300" sldId="2147483915"/>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3956450728" sldId="2147483916"/>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157529353" sldId="2147483917"/>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3145981084" sldId="2147483918"/>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2306214207" sldId="2147483929"/>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1942104144" sldId="2147483930"/>
          </pc:sldLayoutMkLst>
        </pc:sldLayoutChg>
        <pc:sldLayoutChg chg="add">
          <pc:chgData name="Rogers, Amanda (OST)" userId="S::amanda.rogers@ad.dot.gov::75b2722b-6ec1-4bf8-8a17-c8c89c83c278" providerId="AD" clId="Web-{7C79AC5B-258A-6103-E343-2C0365ECC429}" dt="2023-07-06T15:37:22.905" v="0"/>
          <pc:sldLayoutMkLst>
            <pc:docMk/>
            <pc:sldMasterMk cId="3411620979" sldId="2147483913"/>
            <pc:sldLayoutMk cId="496364158" sldId="2147483940"/>
          </pc:sldLayoutMkLst>
        </pc:sldLayoutChg>
      </pc:sldMasterChg>
      <pc:sldMasterChg chg="add addSldLayout">
        <pc:chgData name="Rogers, Amanda (OST)" userId="S::amanda.rogers@ad.dot.gov::75b2722b-6ec1-4bf8-8a17-c8c89c83c278" providerId="AD" clId="Web-{7C79AC5B-258A-6103-E343-2C0365ECC429}" dt="2023-07-06T15:38:17.483" v="27"/>
        <pc:sldMasterMkLst>
          <pc:docMk/>
          <pc:sldMasterMk cId="120551659" sldId="2147483931"/>
        </pc:sldMasterMkLst>
        <pc:sldLayoutChg chg="add">
          <pc:chgData name="Rogers, Amanda (OST)" userId="S::amanda.rogers@ad.dot.gov::75b2722b-6ec1-4bf8-8a17-c8c89c83c278" providerId="AD" clId="Web-{7C79AC5B-258A-6103-E343-2C0365ECC429}" dt="2023-07-06T15:38:17.483" v="27"/>
          <pc:sldLayoutMkLst>
            <pc:docMk/>
            <pc:sldMasterMk cId="120551659" sldId="2147483931"/>
            <pc:sldLayoutMk cId="2007415119" sldId="2147483932"/>
          </pc:sldLayoutMkLst>
        </pc:sldLayoutChg>
        <pc:sldLayoutChg chg="add">
          <pc:chgData name="Rogers, Amanda (OST)" userId="S::amanda.rogers@ad.dot.gov::75b2722b-6ec1-4bf8-8a17-c8c89c83c278" providerId="AD" clId="Web-{7C79AC5B-258A-6103-E343-2C0365ECC429}" dt="2023-07-06T15:38:17.483" v="27"/>
          <pc:sldLayoutMkLst>
            <pc:docMk/>
            <pc:sldMasterMk cId="120551659" sldId="2147483931"/>
            <pc:sldLayoutMk cId="223529382" sldId="2147483933"/>
          </pc:sldLayoutMkLst>
        </pc:sldLayoutChg>
      </pc:sldMasterChg>
      <pc:sldMasterChg chg="add addSldLayout">
        <pc:chgData name="Rogers, Amanda (OST)" userId="S::amanda.rogers@ad.dot.gov::75b2722b-6ec1-4bf8-8a17-c8c89c83c278" providerId="AD" clId="Web-{7C79AC5B-258A-6103-E343-2C0365ECC429}" dt="2023-07-06T15:38:47.999" v="33"/>
        <pc:sldMasterMkLst>
          <pc:docMk/>
          <pc:sldMasterMk cId="3613046645" sldId="2147483934"/>
        </pc:sldMasterMkLst>
        <pc:sldLayoutChg chg="add">
          <pc:chgData name="Rogers, Amanda (OST)" userId="S::amanda.rogers@ad.dot.gov::75b2722b-6ec1-4bf8-8a17-c8c89c83c278" providerId="AD" clId="Web-{7C79AC5B-258A-6103-E343-2C0365ECC429}" dt="2023-07-06T15:38:47.999" v="33"/>
          <pc:sldLayoutMkLst>
            <pc:docMk/>
            <pc:sldMasterMk cId="3613046645" sldId="2147483934"/>
            <pc:sldLayoutMk cId="1367654909" sldId="2147483791"/>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2370866619" sldId="2147483793"/>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2866917672" sldId="2147483919"/>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4064318286" sldId="2147483920"/>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766335679" sldId="2147483935"/>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2031840986" sldId="2147483936"/>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3971658079" sldId="2147483937"/>
          </pc:sldLayoutMkLst>
        </pc:sldLayoutChg>
        <pc:sldLayoutChg chg="add">
          <pc:chgData name="Rogers, Amanda (OST)" userId="S::amanda.rogers@ad.dot.gov::75b2722b-6ec1-4bf8-8a17-c8c89c83c278" providerId="AD" clId="Web-{7C79AC5B-258A-6103-E343-2C0365ECC429}" dt="2023-07-06T15:38:47.999" v="33"/>
          <pc:sldLayoutMkLst>
            <pc:docMk/>
            <pc:sldMasterMk cId="3613046645" sldId="2147483934"/>
            <pc:sldLayoutMk cId="4169852812" sldId="2147483938"/>
          </pc:sldLayoutMkLst>
        </pc:sldLayoutChg>
      </pc:sldMasterChg>
      <pc:sldMasterChg chg="replId modSldLayout">
        <pc:chgData name="Rogers, Amanda (OST)" userId="S::amanda.rogers@ad.dot.gov::75b2722b-6ec1-4bf8-8a17-c8c89c83c278" providerId="AD" clId="Web-{7C79AC5B-258A-6103-E343-2C0365ECC429}" dt="2023-07-06T15:42:54.471" v="56"/>
        <pc:sldMasterMkLst>
          <pc:docMk/>
          <pc:sldMasterMk cId="2460954070" sldId="2147483941"/>
        </pc:sldMasterMkLst>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2385387890" sldId="2147483942"/>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949138452" sldId="2147483943"/>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2591524520" sldId="2147483944"/>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1203092039" sldId="2147483945"/>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3733172339" sldId="2147483946"/>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3210312558" sldId="2147483947"/>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3146388984" sldId="2147483948"/>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3171841454" sldId="2147483949"/>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1718958274" sldId="2147483950"/>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2202905451" sldId="2147483951"/>
          </pc:sldLayoutMkLst>
        </pc:sldLayoutChg>
        <pc:sldLayoutChg chg="replId">
          <pc:chgData name="Rogers, Amanda (OST)" userId="S::amanda.rogers@ad.dot.gov::75b2722b-6ec1-4bf8-8a17-c8c89c83c278" providerId="AD" clId="Web-{7C79AC5B-258A-6103-E343-2C0365ECC429}" dt="2023-07-06T15:42:54.471" v="56"/>
          <pc:sldLayoutMkLst>
            <pc:docMk/>
            <pc:sldMasterMk cId="2460954070" sldId="2147483941"/>
            <pc:sldLayoutMk cId="3479445657" sldId="2147483952"/>
          </pc:sldLayoutMkLst>
        </pc:sldLayoutChg>
      </pc:sldMasterChg>
    </pc:docChg>
  </pc:docChgLst>
  <pc:docChgLst>
    <pc:chgData name="Rogers, Amanda (OST)" userId="S::amanda.rogers@ad.dot.gov::75b2722b-6ec1-4bf8-8a17-c8c89c83c278" providerId="AD" clId="Web-{EC335CC8-4810-DD3A-F9D2-4772667BEDC7}"/>
    <pc:docChg chg="addSld delSld modSld">
      <pc:chgData name="Rogers, Amanda (OST)" userId="S::amanda.rogers@ad.dot.gov::75b2722b-6ec1-4bf8-8a17-c8c89c83c278" providerId="AD" clId="Web-{EC335CC8-4810-DD3A-F9D2-4772667BEDC7}" dt="2023-08-15T18:10:24.669" v="449"/>
      <pc:docMkLst>
        <pc:docMk/>
      </pc:docMkLst>
      <pc:sldChg chg="addSp delSp modSp modNotes">
        <pc:chgData name="Rogers, Amanda (OST)" userId="S::amanda.rogers@ad.dot.gov::75b2722b-6ec1-4bf8-8a17-c8c89c83c278" providerId="AD" clId="Web-{EC335CC8-4810-DD3A-F9D2-4772667BEDC7}" dt="2023-08-15T18:02:50.101" v="46" actId="1076"/>
        <pc:sldMkLst>
          <pc:docMk/>
          <pc:sldMk cId="487430412" sldId="265"/>
        </pc:sldMkLst>
        <pc:spChg chg="mod">
          <ac:chgData name="Rogers, Amanda (OST)" userId="S::amanda.rogers@ad.dot.gov::75b2722b-6ec1-4bf8-8a17-c8c89c83c278" providerId="AD" clId="Web-{EC335CC8-4810-DD3A-F9D2-4772667BEDC7}" dt="2023-08-15T18:01:04.474" v="12" actId="1076"/>
          <ac:spMkLst>
            <pc:docMk/>
            <pc:sldMk cId="487430412" sldId="265"/>
            <ac:spMk id="3" creationId="{2F6F2982-EE22-647A-F469-C1DD492A2AA7}"/>
          </ac:spMkLst>
        </pc:spChg>
        <pc:spChg chg="add mod">
          <ac:chgData name="Rogers, Amanda (OST)" userId="S::amanda.rogers@ad.dot.gov::75b2722b-6ec1-4bf8-8a17-c8c89c83c278" providerId="AD" clId="Web-{EC335CC8-4810-DD3A-F9D2-4772667BEDC7}" dt="2023-08-15T18:02:38.163" v="42" actId="1076"/>
          <ac:spMkLst>
            <pc:docMk/>
            <pc:sldMk cId="487430412" sldId="265"/>
            <ac:spMk id="4" creationId="{0B067072-A80B-8C0D-1BD6-870389DBB7D4}"/>
          </ac:spMkLst>
        </pc:spChg>
        <pc:spChg chg="del">
          <ac:chgData name="Rogers, Amanda (OST)" userId="S::amanda.rogers@ad.dot.gov::75b2722b-6ec1-4bf8-8a17-c8c89c83c278" providerId="AD" clId="Web-{EC335CC8-4810-DD3A-F9D2-4772667BEDC7}" dt="2023-08-15T18:00:48.818" v="9"/>
          <ac:spMkLst>
            <pc:docMk/>
            <pc:sldMk cId="487430412" sldId="265"/>
            <ac:spMk id="5" creationId="{0B7F2933-5620-9D0B-73BF-B0592FED1F87}"/>
          </ac:spMkLst>
        </pc:spChg>
        <pc:spChg chg="del">
          <ac:chgData name="Rogers, Amanda (OST)" userId="S::amanda.rogers@ad.dot.gov::75b2722b-6ec1-4bf8-8a17-c8c89c83c278" providerId="AD" clId="Web-{EC335CC8-4810-DD3A-F9D2-4772667BEDC7}" dt="2023-08-15T18:00:57.349" v="11"/>
          <ac:spMkLst>
            <pc:docMk/>
            <pc:sldMk cId="487430412" sldId="265"/>
            <ac:spMk id="9" creationId="{A84B64D5-0BE0-7746-7149-4055C4D3098B}"/>
          </ac:spMkLst>
        </pc:spChg>
        <pc:picChg chg="mod">
          <ac:chgData name="Rogers, Amanda (OST)" userId="S::amanda.rogers@ad.dot.gov::75b2722b-6ec1-4bf8-8a17-c8c89c83c278" providerId="AD" clId="Web-{EC335CC8-4810-DD3A-F9D2-4772667BEDC7}" dt="2023-08-15T18:02:12.928" v="33" actId="1076"/>
          <ac:picMkLst>
            <pc:docMk/>
            <pc:sldMk cId="487430412" sldId="265"/>
            <ac:picMk id="7" creationId="{5CA8C9BE-EEEE-3B94-63C1-60E37174753C}"/>
          </ac:picMkLst>
        </pc:picChg>
        <pc:picChg chg="mod">
          <ac:chgData name="Rogers, Amanda (OST)" userId="S::amanda.rogers@ad.dot.gov::75b2722b-6ec1-4bf8-8a17-c8c89c83c278" providerId="AD" clId="Web-{EC335CC8-4810-DD3A-F9D2-4772667BEDC7}" dt="2023-08-15T18:02:50.101" v="46" actId="1076"/>
          <ac:picMkLst>
            <pc:docMk/>
            <pc:sldMk cId="487430412" sldId="265"/>
            <ac:picMk id="16" creationId="{7E8D9EB7-19DA-445E-A0DA-67772226B009}"/>
          </ac:picMkLst>
        </pc:picChg>
      </pc:sldChg>
      <pc:sldChg chg="del">
        <pc:chgData name="Rogers, Amanda (OST)" userId="S::amanda.rogers@ad.dot.gov::75b2722b-6ec1-4bf8-8a17-c8c89c83c278" providerId="AD" clId="Web-{EC335CC8-4810-DD3A-F9D2-4772667BEDC7}" dt="2023-08-15T17:59:32.942" v="1"/>
        <pc:sldMkLst>
          <pc:docMk/>
          <pc:sldMk cId="2634398186" sldId="266"/>
        </pc:sldMkLst>
      </pc:sldChg>
      <pc:sldChg chg="modNotes">
        <pc:chgData name="Rogers, Amanda (OST)" userId="S::amanda.rogers@ad.dot.gov::75b2722b-6ec1-4bf8-8a17-c8c89c83c278" providerId="AD" clId="Web-{EC335CC8-4810-DD3A-F9D2-4772667BEDC7}" dt="2023-08-15T18:10:24.669" v="449"/>
        <pc:sldMkLst>
          <pc:docMk/>
          <pc:sldMk cId="2832665021" sldId="269"/>
        </pc:sldMkLst>
      </pc:sldChg>
      <pc:sldChg chg="modSp">
        <pc:chgData name="Rogers, Amanda (OST)" userId="S::amanda.rogers@ad.dot.gov::75b2722b-6ec1-4bf8-8a17-c8c89c83c278" providerId="AD" clId="Web-{EC335CC8-4810-DD3A-F9D2-4772667BEDC7}" dt="2023-08-15T18:09:59.872" v="433" actId="20577"/>
        <pc:sldMkLst>
          <pc:docMk/>
          <pc:sldMk cId="3487385441" sldId="270"/>
        </pc:sldMkLst>
        <pc:spChg chg="mod">
          <ac:chgData name="Rogers, Amanda (OST)" userId="S::amanda.rogers@ad.dot.gov::75b2722b-6ec1-4bf8-8a17-c8c89c83c278" providerId="AD" clId="Web-{EC335CC8-4810-DD3A-F9D2-4772667BEDC7}" dt="2023-08-15T18:09:59.872" v="433" actId="20577"/>
          <ac:spMkLst>
            <pc:docMk/>
            <pc:sldMk cId="3487385441" sldId="270"/>
            <ac:spMk id="9" creationId="{F3641824-FE96-4A07-8F48-859FC1C3C322}"/>
          </ac:spMkLst>
        </pc:spChg>
      </pc:sldChg>
      <pc:sldChg chg="modSp modNotes">
        <pc:chgData name="Rogers, Amanda (OST)" userId="S::amanda.rogers@ad.dot.gov::75b2722b-6ec1-4bf8-8a17-c8c89c83c278" providerId="AD" clId="Web-{EC335CC8-4810-DD3A-F9D2-4772667BEDC7}" dt="2023-08-15T18:08:39.621" v="415" actId="1076"/>
        <pc:sldMkLst>
          <pc:docMk/>
          <pc:sldMk cId="2479896660" sldId="273"/>
        </pc:sldMkLst>
        <pc:graphicFrameChg chg="mod modGraphic">
          <ac:chgData name="Rogers, Amanda (OST)" userId="S::amanda.rogers@ad.dot.gov::75b2722b-6ec1-4bf8-8a17-c8c89c83c278" providerId="AD" clId="Web-{EC335CC8-4810-DD3A-F9D2-4772667BEDC7}" dt="2023-08-15T18:08:39.621" v="415" actId="1076"/>
          <ac:graphicFrameMkLst>
            <pc:docMk/>
            <pc:sldMk cId="2479896660" sldId="273"/>
            <ac:graphicFrameMk id="8" creationId="{888B4329-4DBD-A2AD-9B7F-B1E6CA60E8F1}"/>
          </ac:graphicFrameMkLst>
        </pc:graphicFrameChg>
      </pc:sldChg>
      <pc:sldChg chg="del">
        <pc:chgData name="Rogers, Amanda (OST)" userId="S::amanda.rogers@ad.dot.gov::75b2722b-6ec1-4bf8-8a17-c8c89c83c278" providerId="AD" clId="Web-{EC335CC8-4810-DD3A-F9D2-4772667BEDC7}" dt="2023-08-15T17:59:56.489" v="2"/>
        <pc:sldMkLst>
          <pc:docMk/>
          <pc:sldMk cId="1347974019" sldId="285"/>
        </pc:sldMkLst>
      </pc:sldChg>
      <pc:sldChg chg="del">
        <pc:chgData name="Rogers, Amanda (OST)" userId="S::amanda.rogers@ad.dot.gov::75b2722b-6ec1-4bf8-8a17-c8c89c83c278" providerId="AD" clId="Web-{EC335CC8-4810-DD3A-F9D2-4772667BEDC7}" dt="2023-08-15T18:03:26.335" v="49"/>
        <pc:sldMkLst>
          <pc:docMk/>
          <pc:sldMk cId="2783464704" sldId="286"/>
        </pc:sldMkLst>
      </pc:sldChg>
      <pc:sldChg chg="del">
        <pc:chgData name="Rogers, Amanda (OST)" userId="S::amanda.rogers@ad.dot.gov::75b2722b-6ec1-4bf8-8a17-c8c89c83c278" providerId="AD" clId="Web-{EC335CC8-4810-DD3A-F9D2-4772667BEDC7}" dt="2023-08-15T18:00:42.021" v="8"/>
        <pc:sldMkLst>
          <pc:docMk/>
          <pc:sldMk cId="3034721538" sldId="289"/>
        </pc:sldMkLst>
      </pc:sldChg>
      <pc:sldChg chg="mod modShow">
        <pc:chgData name="Rogers, Amanda (OST)" userId="S::amanda.rogers@ad.dot.gov::75b2722b-6ec1-4bf8-8a17-c8c89c83c278" providerId="AD" clId="Web-{EC335CC8-4810-DD3A-F9D2-4772667BEDC7}" dt="2023-08-15T18:09:19.715" v="423"/>
        <pc:sldMkLst>
          <pc:docMk/>
          <pc:sldMk cId="4092943618" sldId="290"/>
        </pc:sldMkLst>
      </pc:sldChg>
      <pc:sldChg chg="mod modShow modNotes">
        <pc:chgData name="Rogers, Amanda (OST)" userId="S::amanda.rogers@ad.dot.gov::75b2722b-6ec1-4bf8-8a17-c8c89c83c278" providerId="AD" clId="Web-{EC335CC8-4810-DD3A-F9D2-4772667BEDC7}" dt="2023-08-15T18:09:07.622" v="422"/>
        <pc:sldMkLst>
          <pc:docMk/>
          <pc:sldMk cId="1181896907" sldId="291"/>
        </pc:sldMkLst>
      </pc:sldChg>
      <pc:sldChg chg="mod modShow">
        <pc:chgData name="Rogers, Amanda (OST)" userId="S::amanda.rogers@ad.dot.gov::75b2722b-6ec1-4bf8-8a17-c8c89c83c278" providerId="AD" clId="Web-{EC335CC8-4810-DD3A-F9D2-4772667BEDC7}" dt="2023-08-15T18:09:23.512" v="424"/>
        <pc:sldMkLst>
          <pc:docMk/>
          <pc:sldMk cId="3412389389" sldId="293"/>
        </pc:sldMkLst>
      </pc:sldChg>
      <pc:sldChg chg="addSp delSp modSp add">
        <pc:chgData name="Rogers, Amanda (OST)" userId="S::amanda.rogers@ad.dot.gov::75b2722b-6ec1-4bf8-8a17-c8c89c83c278" providerId="AD" clId="Web-{EC335CC8-4810-DD3A-F9D2-4772667BEDC7}" dt="2023-08-15T18:05:00.806" v="130" actId="1076"/>
        <pc:sldMkLst>
          <pc:docMk/>
          <pc:sldMk cId="1740509988" sldId="295"/>
        </pc:sldMkLst>
        <pc:spChg chg="mod">
          <ac:chgData name="Rogers, Amanda (OST)" userId="S::amanda.rogers@ad.dot.gov::75b2722b-6ec1-4bf8-8a17-c8c89c83c278" providerId="AD" clId="Web-{EC335CC8-4810-DD3A-F9D2-4772667BEDC7}" dt="2023-08-15T18:04:47.321" v="129" actId="20577"/>
          <ac:spMkLst>
            <pc:docMk/>
            <pc:sldMk cId="1740509988" sldId="295"/>
            <ac:spMk id="4" creationId="{D2970A47-2D2F-F555-8020-773F16871AB5}"/>
          </ac:spMkLst>
        </pc:spChg>
        <pc:spChg chg="add del mod">
          <ac:chgData name="Rogers, Amanda (OST)" userId="S::amanda.rogers@ad.dot.gov::75b2722b-6ec1-4bf8-8a17-c8c89c83c278" providerId="AD" clId="Web-{EC335CC8-4810-DD3A-F9D2-4772667BEDC7}" dt="2023-08-15T18:04:31.743" v="127"/>
          <ac:spMkLst>
            <pc:docMk/>
            <pc:sldMk cId="1740509988" sldId="295"/>
            <ac:spMk id="6" creationId="{C126D4E1-8A65-1D5E-CDCB-9551A8823BA1}"/>
          </ac:spMkLst>
        </pc:spChg>
        <pc:picChg chg="mod">
          <ac:chgData name="Rogers, Amanda (OST)" userId="S::amanda.rogers@ad.dot.gov::75b2722b-6ec1-4bf8-8a17-c8c89c83c278" providerId="AD" clId="Web-{EC335CC8-4810-DD3A-F9D2-4772667BEDC7}" dt="2023-08-15T18:05:00.806" v="130" actId="1076"/>
          <ac:picMkLst>
            <pc:docMk/>
            <pc:sldMk cId="1740509988" sldId="295"/>
            <ac:picMk id="3" creationId="{9BEC1FB7-7901-37EC-69FD-70A6D143202F}"/>
          </ac:picMkLst>
        </pc:picChg>
      </pc:sldChg>
      <pc:sldChg chg="add">
        <pc:chgData name="Rogers, Amanda (OST)" userId="S::amanda.rogers@ad.dot.gov::75b2722b-6ec1-4bf8-8a17-c8c89c83c278" providerId="AD" clId="Web-{EC335CC8-4810-DD3A-F9D2-4772667BEDC7}" dt="2023-08-15T18:00:02.942" v="3"/>
        <pc:sldMkLst>
          <pc:docMk/>
          <pc:sldMk cId="2727881942" sldId="296"/>
        </pc:sldMkLst>
      </pc:sldChg>
    </pc:docChg>
  </pc:docChgLst>
  <pc:docChgLst>
    <pc:chgData name="Rogers, Amanda (OST)" userId="S::amanda.rogers@ad.dot.gov::75b2722b-6ec1-4bf8-8a17-c8c89c83c278" providerId="AD" clId="Web-{7E4019F1-2270-196D-73C8-1B301190AF3E}"/>
    <pc:docChg chg="modSld">
      <pc:chgData name="Rogers, Amanda (OST)" userId="S::amanda.rogers@ad.dot.gov::75b2722b-6ec1-4bf8-8a17-c8c89c83c278" providerId="AD" clId="Web-{7E4019F1-2270-196D-73C8-1B301190AF3E}" dt="2023-12-05T18:32:27.646" v="1"/>
      <pc:docMkLst>
        <pc:docMk/>
      </pc:docMkLst>
      <pc:sldChg chg="mod modShow">
        <pc:chgData name="Rogers, Amanda (OST)" userId="S::amanda.rogers@ad.dot.gov::75b2722b-6ec1-4bf8-8a17-c8c89c83c278" providerId="AD" clId="Web-{7E4019F1-2270-196D-73C8-1B301190AF3E}" dt="2023-12-05T18:32:27.646" v="1"/>
        <pc:sldMkLst>
          <pc:docMk/>
          <pc:sldMk cId="3039798694" sldId="284"/>
        </pc:sldMkLst>
      </pc:sldChg>
      <pc:sldChg chg="mod modShow">
        <pc:chgData name="Rogers, Amanda (OST)" userId="S::amanda.rogers@ad.dot.gov::75b2722b-6ec1-4bf8-8a17-c8c89c83c278" providerId="AD" clId="Web-{7E4019F1-2270-196D-73C8-1B301190AF3E}" dt="2023-12-05T18:32:08.927" v="0"/>
        <pc:sldMkLst>
          <pc:docMk/>
          <pc:sldMk cId="3815437137" sldId="320"/>
        </pc:sldMkLst>
      </pc:sldChg>
    </pc:docChg>
  </pc:docChgLst>
  <pc:docChgLst>
    <pc:chgData name="Rogers, Amanda (OST)" userId="S::amanda.rogers@ad.dot.gov::75b2722b-6ec1-4bf8-8a17-c8c89c83c278" providerId="AD" clId="Web-{9B86138F-711B-FEA0-37C9-AF72B37737FB}"/>
    <pc:docChg chg="modSld">
      <pc:chgData name="Rogers, Amanda (OST)" userId="S::amanda.rogers@ad.dot.gov::75b2722b-6ec1-4bf8-8a17-c8c89c83c278" providerId="AD" clId="Web-{9B86138F-711B-FEA0-37C9-AF72B37737FB}" dt="2024-01-02T16:08:28.655" v="16" actId="20577"/>
      <pc:docMkLst>
        <pc:docMk/>
      </pc:docMkLst>
      <pc:sldChg chg="modSp">
        <pc:chgData name="Rogers, Amanda (OST)" userId="S::amanda.rogers@ad.dot.gov::75b2722b-6ec1-4bf8-8a17-c8c89c83c278" providerId="AD" clId="Web-{9B86138F-711B-FEA0-37C9-AF72B37737FB}" dt="2024-01-02T16:08:19.936" v="13" actId="20577"/>
        <pc:sldMkLst>
          <pc:docMk/>
          <pc:sldMk cId="109857222" sldId="256"/>
        </pc:sldMkLst>
        <pc:spChg chg="mod">
          <ac:chgData name="Rogers, Amanda (OST)" userId="S::amanda.rogers@ad.dot.gov::75b2722b-6ec1-4bf8-8a17-c8c89c83c278" providerId="AD" clId="Web-{9B86138F-711B-FEA0-37C9-AF72B37737FB}" dt="2024-01-02T16:08:19.936" v="13" actId="20577"/>
          <ac:spMkLst>
            <pc:docMk/>
            <pc:sldMk cId="109857222" sldId="256"/>
            <ac:spMk id="3" creationId="{00000000-0000-0000-0000-000000000000}"/>
          </ac:spMkLst>
        </pc:spChg>
      </pc:sldChg>
      <pc:sldChg chg="modSp">
        <pc:chgData name="Rogers, Amanda (OST)" userId="S::amanda.rogers@ad.dot.gov::75b2722b-6ec1-4bf8-8a17-c8c89c83c278" providerId="AD" clId="Web-{9B86138F-711B-FEA0-37C9-AF72B37737FB}" dt="2024-01-02T16:08:28.655" v="16" actId="20577"/>
        <pc:sldMkLst>
          <pc:docMk/>
          <pc:sldMk cId="239497448" sldId="258"/>
        </pc:sldMkLst>
        <pc:spChg chg="mod">
          <ac:chgData name="Rogers, Amanda (OST)" userId="S::amanda.rogers@ad.dot.gov::75b2722b-6ec1-4bf8-8a17-c8c89c83c278" providerId="AD" clId="Web-{9B86138F-711B-FEA0-37C9-AF72B37737FB}" dt="2024-01-02T16:08:28.655" v="16" actId="20577"/>
          <ac:spMkLst>
            <pc:docMk/>
            <pc:sldMk cId="239497448" sldId="258"/>
            <ac:spMk id="11" creationId="{4C6E4316-C6DE-D003-5AA1-A2140AE78A71}"/>
          </ac:spMkLst>
        </pc:spChg>
      </pc:sldChg>
    </pc:docChg>
  </pc:docChgLst>
  <pc:docChgLst>
    <pc:chgData name="Rogers, Amanda (OST)" userId="S::amanda.rogers@ad.dot.gov::75b2722b-6ec1-4bf8-8a17-c8c89c83c278" providerId="AD" clId="Web-{C91D9481-F149-3083-AC81-58EFFCEFC7A9}"/>
    <pc:docChg chg="addSld delSld modSld addMainMaster">
      <pc:chgData name="Rogers, Amanda (OST)" userId="S::amanda.rogers@ad.dot.gov::75b2722b-6ec1-4bf8-8a17-c8c89c83c278" providerId="AD" clId="Web-{C91D9481-F149-3083-AC81-58EFFCEFC7A9}" dt="2023-08-11T22:05:54.464" v="15"/>
      <pc:docMkLst>
        <pc:docMk/>
      </pc:docMkLst>
      <pc:sldChg chg="modSp">
        <pc:chgData name="Rogers, Amanda (OST)" userId="S::amanda.rogers@ad.dot.gov::75b2722b-6ec1-4bf8-8a17-c8c89c83c278" providerId="AD" clId="Web-{C91D9481-F149-3083-AC81-58EFFCEFC7A9}" dt="2023-08-09T17:41:46.025" v="7" actId="20577"/>
        <pc:sldMkLst>
          <pc:docMk/>
          <pc:sldMk cId="109857222" sldId="256"/>
        </pc:sldMkLst>
        <pc:spChg chg="mod">
          <ac:chgData name="Rogers, Amanda (OST)" userId="S::amanda.rogers@ad.dot.gov::75b2722b-6ec1-4bf8-8a17-c8c89c83c278" providerId="AD" clId="Web-{C91D9481-F149-3083-AC81-58EFFCEFC7A9}" dt="2023-08-09T17:41:46.025" v="7" actId="20577"/>
          <ac:spMkLst>
            <pc:docMk/>
            <pc:sldMk cId="109857222" sldId="256"/>
            <ac:spMk id="3" creationId="{00000000-0000-0000-0000-000000000000}"/>
          </ac:spMkLst>
        </pc:spChg>
      </pc:sldChg>
      <pc:sldChg chg="del">
        <pc:chgData name="Rogers, Amanda (OST)" userId="S::amanda.rogers@ad.dot.gov::75b2722b-6ec1-4bf8-8a17-c8c89c83c278" providerId="AD" clId="Web-{C91D9481-F149-3083-AC81-58EFFCEFC7A9}" dt="2023-08-11T22:05:43.823" v="14"/>
        <pc:sldMkLst>
          <pc:docMk/>
          <pc:sldMk cId="946838486" sldId="278"/>
        </pc:sldMkLst>
      </pc:sldChg>
      <pc:sldChg chg="add">
        <pc:chgData name="Rogers, Amanda (OST)" userId="S::amanda.rogers@ad.dot.gov::75b2722b-6ec1-4bf8-8a17-c8c89c83c278" providerId="AD" clId="Web-{C91D9481-F149-3083-AC81-58EFFCEFC7A9}" dt="2023-08-09T17:42:43.854" v="8"/>
        <pc:sldMkLst>
          <pc:docMk/>
          <pc:sldMk cId="3034721538" sldId="289"/>
        </pc:sldMkLst>
      </pc:sldChg>
      <pc:sldChg chg="add">
        <pc:chgData name="Rogers, Amanda (OST)" userId="S::amanda.rogers@ad.dot.gov::75b2722b-6ec1-4bf8-8a17-c8c89c83c278" providerId="AD" clId="Web-{C91D9481-F149-3083-AC81-58EFFCEFC7A9}" dt="2023-08-09T17:43:08.323" v="9"/>
        <pc:sldMkLst>
          <pc:docMk/>
          <pc:sldMk cId="4092943618" sldId="290"/>
        </pc:sldMkLst>
      </pc:sldChg>
      <pc:sldChg chg="add">
        <pc:chgData name="Rogers, Amanda (OST)" userId="S::amanda.rogers@ad.dot.gov::75b2722b-6ec1-4bf8-8a17-c8c89c83c278" providerId="AD" clId="Web-{C91D9481-F149-3083-AC81-58EFFCEFC7A9}" dt="2023-08-09T17:44:00.090" v="10"/>
        <pc:sldMkLst>
          <pc:docMk/>
          <pc:sldMk cId="1181896907" sldId="291"/>
        </pc:sldMkLst>
      </pc:sldChg>
      <pc:sldChg chg="add del">
        <pc:chgData name="Rogers, Amanda (OST)" userId="S::amanda.rogers@ad.dot.gov::75b2722b-6ec1-4bf8-8a17-c8c89c83c278" providerId="AD" clId="Web-{C91D9481-F149-3083-AC81-58EFFCEFC7A9}" dt="2023-08-11T22:05:54.464" v="15"/>
        <pc:sldMkLst>
          <pc:docMk/>
          <pc:sldMk cId="2693658174" sldId="292"/>
        </pc:sldMkLst>
      </pc:sldChg>
      <pc:sldChg chg="add">
        <pc:chgData name="Rogers, Amanda (OST)" userId="S::amanda.rogers@ad.dot.gov::75b2722b-6ec1-4bf8-8a17-c8c89c83c278" providerId="AD" clId="Web-{C91D9481-F149-3083-AC81-58EFFCEFC7A9}" dt="2023-08-09T17:45:04.763" v="12"/>
        <pc:sldMkLst>
          <pc:docMk/>
          <pc:sldMk cId="3412389389" sldId="293"/>
        </pc:sldMkLst>
      </pc:sldChg>
      <pc:sldChg chg="add">
        <pc:chgData name="Rogers, Amanda (OST)" userId="S::amanda.rogers@ad.dot.gov::75b2722b-6ec1-4bf8-8a17-c8c89c83c278" providerId="AD" clId="Web-{C91D9481-F149-3083-AC81-58EFFCEFC7A9}" dt="2023-08-11T22:05:36.917" v="13"/>
        <pc:sldMkLst>
          <pc:docMk/>
          <pc:sldMk cId="2379103218" sldId="294"/>
        </pc:sldMkLst>
      </pc:sldChg>
      <pc:sldMasterChg chg="addSldLayout">
        <pc:chgData name="Rogers, Amanda (OST)" userId="S::amanda.rogers@ad.dot.gov::75b2722b-6ec1-4bf8-8a17-c8c89c83c278" providerId="AD" clId="Web-{C91D9481-F149-3083-AC81-58EFFCEFC7A9}" dt="2023-08-09T17:42:43.854" v="8"/>
        <pc:sldMasterMkLst>
          <pc:docMk/>
          <pc:sldMasterMk cId="2122263373" sldId="2147483660"/>
        </pc:sldMasterMkLst>
        <pc:sldLayoutChg chg="add">
          <pc:chgData name="Rogers, Amanda (OST)" userId="S::amanda.rogers@ad.dot.gov::75b2722b-6ec1-4bf8-8a17-c8c89c83c278" providerId="AD" clId="Web-{C91D9481-F149-3083-AC81-58EFFCEFC7A9}" dt="2023-08-09T17:42:43.854" v="8"/>
          <pc:sldLayoutMkLst>
            <pc:docMk/>
            <pc:sldMasterMk cId="2122263373" sldId="2147483660"/>
            <pc:sldLayoutMk cId="464087236" sldId="2147483845"/>
          </pc:sldLayoutMkLst>
        </pc:sldLayoutChg>
      </pc:sldMasterChg>
      <pc:sldMasterChg chg="add addSldLayout">
        <pc:chgData name="Rogers, Amanda (OST)" userId="S::amanda.rogers@ad.dot.gov::75b2722b-6ec1-4bf8-8a17-c8c89c83c278" providerId="AD" clId="Web-{C91D9481-F149-3083-AC81-58EFFCEFC7A9}" dt="2023-08-09T17:43:08.323" v="9"/>
        <pc:sldMasterMkLst>
          <pc:docMk/>
          <pc:sldMasterMk cId="946163275" sldId="2147483756"/>
        </pc:sldMasterMkLst>
        <pc:sldLayoutChg chg="add">
          <pc:chgData name="Rogers, Amanda (OST)" userId="S::amanda.rogers@ad.dot.gov::75b2722b-6ec1-4bf8-8a17-c8c89c83c278" providerId="AD" clId="Web-{C91D9481-F149-3083-AC81-58EFFCEFC7A9}" dt="2023-08-09T17:43:08.323" v="9"/>
          <pc:sldLayoutMkLst>
            <pc:docMk/>
            <pc:sldMasterMk cId="946163275" sldId="2147483756"/>
            <pc:sldLayoutMk cId="1334038435" sldId="2147483757"/>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437159034" sldId="2147483758"/>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1987784647" sldId="2147483759"/>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1734501631" sldId="2147483760"/>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762528765" sldId="2147483762"/>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509955754" sldId="2147483763"/>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654388017" sldId="2147483764"/>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1350103997" sldId="2147483765"/>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049663139" sldId="2147483766"/>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384389291" sldId="2147483767"/>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891552186" sldId="2147483768"/>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974837237" sldId="2147483769"/>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615553311" sldId="2147483770"/>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801432743" sldId="2147483772"/>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040633376" sldId="2147483773"/>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1505855276" sldId="2147483774"/>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877243659" sldId="2147483776"/>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291630863" sldId="2147483785"/>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793249708" sldId="2147483787"/>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445030393" sldId="2147483788"/>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956901459" sldId="2147483790"/>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591505609" sldId="2147483792"/>
          </pc:sldLayoutMkLst>
        </pc:sldLayoutChg>
        <pc:sldLayoutChg chg="add">
          <pc:chgData name="Rogers, Amanda (OST)" userId="S::amanda.rogers@ad.dot.gov::75b2722b-6ec1-4bf8-8a17-c8c89c83c278" providerId="AD" clId="Web-{C91D9481-F149-3083-AC81-58EFFCEFC7A9}" dt="2023-08-09T17:43:08.323" v="9"/>
          <pc:sldLayoutMkLst>
            <pc:docMk/>
            <pc:sldMasterMk cId="946163275" sldId="2147483756"/>
            <pc:sldLayoutMk cId="2049663139" sldId="2147483797"/>
          </pc:sldLayoutMkLst>
        </pc:sldLayoutChg>
      </pc:sldMasterChg>
    </pc:docChg>
  </pc:docChgLst>
  <pc:docChgLst>
    <pc:chgData name="Rogers, Amanda (OST)" userId="S::amanda.rogers@ad.dot.gov::75b2722b-6ec1-4bf8-8a17-c8c89c83c278" providerId="AD" clId="Web-{FD975BBA-D043-0B8E-E38D-732BE8CC92EC}"/>
    <pc:docChg chg="addSld delSld modSld sldOrd addMainMaster modMainMaster">
      <pc:chgData name="Rogers, Amanda (OST)" userId="S::amanda.rogers@ad.dot.gov::75b2722b-6ec1-4bf8-8a17-c8c89c83c278" providerId="AD" clId="Web-{FD975BBA-D043-0B8E-E38D-732BE8CC92EC}" dt="2023-10-04T18:47:52.689" v="432"/>
      <pc:docMkLst>
        <pc:docMk/>
      </pc:docMkLst>
      <pc:sldChg chg="modSp">
        <pc:chgData name="Rogers, Amanda (OST)" userId="S::amanda.rogers@ad.dot.gov::75b2722b-6ec1-4bf8-8a17-c8c89c83c278" providerId="AD" clId="Web-{FD975BBA-D043-0B8E-E38D-732BE8CC92EC}" dt="2023-10-04T14:33:03.535" v="4" actId="20577"/>
        <pc:sldMkLst>
          <pc:docMk/>
          <pc:sldMk cId="109857222" sldId="256"/>
        </pc:sldMkLst>
        <pc:spChg chg="mod">
          <ac:chgData name="Rogers, Amanda (OST)" userId="S::amanda.rogers@ad.dot.gov::75b2722b-6ec1-4bf8-8a17-c8c89c83c278" providerId="AD" clId="Web-{FD975BBA-D043-0B8E-E38D-732BE8CC92EC}" dt="2023-10-04T14:33:03.535" v="4" actId="20577"/>
          <ac:spMkLst>
            <pc:docMk/>
            <pc:sldMk cId="109857222" sldId="256"/>
            <ac:spMk id="3" creationId="{00000000-0000-0000-0000-000000000000}"/>
          </ac:spMkLst>
        </pc:spChg>
      </pc:sldChg>
      <pc:sldChg chg="del">
        <pc:chgData name="Rogers, Amanda (OST)" userId="S::amanda.rogers@ad.dot.gov::75b2722b-6ec1-4bf8-8a17-c8c89c83c278" providerId="AD" clId="Web-{FD975BBA-D043-0B8E-E38D-732BE8CC92EC}" dt="2023-10-04T14:47:54.798" v="20"/>
        <pc:sldMkLst>
          <pc:docMk/>
          <pc:sldMk cId="1703308743" sldId="263"/>
        </pc:sldMkLst>
      </pc:sldChg>
      <pc:sldChg chg="del">
        <pc:chgData name="Rogers, Amanda (OST)" userId="S::amanda.rogers@ad.dot.gov::75b2722b-6ec1-4bf8-8a17-c8c89c83c278" providerId="AD" clId="Web-{FD975BBA-D043-0B8E-E38D-732BE8CC92EC}" dt="2023-10-04T14:48:21.736" v="22"/>
        <pc:sldMkLst>
          <pc:docMk/>
          <pc:sldMk cId="2285718496" sldId="264"/>
        </pc:sldMkLst>
      </pc:sldChg>
      <pc:sldChg chg="addSp delSp modSp del">
        <pc:chgData name="Rogers, Amanda (OST)" userId="S::amanda.rogers@ad.dot.gov::75b2722b-6ec1-4bf8-8a17-c8c89c83c278" providerId="AD" clId="Web-{FD975BBA-D043-0B8E-E38D-732BE8CC92EC}" dt="2023-10-04T14:33:44.145" v="10"/>
        <pc:sldMkLst>
          <pc:docMk/>
          <pc:sldMk cId="3487385441" sldId="270"/>
        </pc:sldMkLst>
        <pc:spChg chg="add del mod">
          <ac:chgData name="Rogers, Amanda (OST)" userId="S::amanda.rogers@ad.dot.gov::75b2722b-6ec1-4bf8-8a17-c8c89c83c278" providerId="AD" clId="Web-{FD975BBA-D043-0B8E-E38D-732BE8CC92EC}" dt="2023-10-04T14:33:29.270" v="8"/>
          <ac:spMkLst>
            <pc:docMk/>
            <pc:sldMk cId="3487385441" sldId="270"/>
            <ac:spMk id="3" creationId="{BB7F9923-AD21-8860-5EC4-089412E80107}"/>
          </ac:spMkLst>
        </pc:spChg>
      </pc:sldChg>
      <pc:sldChg chg="del mod modShow">
        <pc:chgData name="Rogers, Amanda (OST)" userId="S::amanda.rogers@ad.dot.gov::75b2722b-6ec1-4bf8-8a17-c8c89c83c278" providerId="AD" clId="Web-{FD975BBA-D043-0B8E-E38D-732BE8CC92EC}" dt="2023-10-04T15:00:30.574" v="43"/>
        <pc:sldMkLst>
          <pc:docMk/>
          <pc:sldMk cId="2479896660" sldId="273"/>
        </pc:sldMkLst>
      </pc:sldChg>
      <pc:sldChg chg="del">
        <pc:chgData name="Rogers, Amanda (OST)" userId="S::amanda.rogers@ad.dot.gov::75b2722b-6ec1-4bf8-8a17-c8c89c83c278" providerId="AD" clId="Web-{FD975BBA-D043-0B8E-E38D-732BE8CC92EC}" dt="2023-10-04T14:40:41.964" v="15"/>
        <pc:sldMkLst>
          <pc:docMk/>
          <pc:sldMk cId="4092943618" sldId="290"/>
        </pc:sldMkLst>
      </pc:sldChg>
      <pc:sldChg chg="del">
        <pc:chgData name="Rogers, Amanda (OST)" userId="S::amanda.rogers@ad.dot.gov::75b2722b-6ec1-4bf8-8a17-c8c89c83c278" providerId="AD" clId="Web-{FD975BBA-D043-0B8E-E38D-732BE8CC92EC}" dt="2023-10-04T14:40:39.823" v="14"/>
        <pc:sldMkLst>
          <pc:docMk/>
          <pc:sldMk cId="2379103218" sldId="294"/>
        </pc:sldMkLst>
      </pc:sldChg>
      <pc:sldChg chg="add">
        <pc:chgData name="Rogers, Amanda (OST)" userId="S::amanda.rogers@ad.dot.gov::75b2722b-6ec1-4bf8-8a17-c8c89c83c278" providerId="AD" clId="Web-{FD975BBA-D043-0B8E-E38D-732BE8CC92EC}" dt="2023-10-04T14:33:38.223" v="9"/>
        <pc:sldMkLst>
          <pc:docMk/>
          <pc:sldMk cId="255807003" sldId="297"/>
        </pc:sldMkLst>
      </pc:sldChg>
      <pc:sldChg chg="add">
        <pc:chgData name="Rogers, Amanda (OST)" userId="S::amanda.rogers@ad.dot.gov::75b2722b-6ec1-4bf8-8a17-c8c89c83c278" providerId="AD" clId="Web-{FD975BBA-D043-0B8E-E38D-732BE8CC92EC}" dt="2023-10-04T14:40:32.901" v="13"/>
        <pc:sldMkLst>
          <pc:docMk/>
          <pc:sldMk cId="896280952" sldId="298"/>
        </pc:sldMkLst>
      </pc:sldChg>
      <pc:sldChg chg="add del">
        <pc:chgData name="Rogers, Amanda (OST)" userId="S::amanda.rogers@ad.dot.gov::75b2722b-6ec1-4bf8-8a17-c8c89c83c278" providerId="AD" clId="Web-{FD975BBA-D043-0B8E-E38D-732BE8CC92EC}" dt="2023-10-04T14:40:25.666" v="12"/>
        <pc:sldMkLst>
          <pc:docMk/>
          <pc:sldMk cId="3948871864" sldId="298"/>
        </pc:sldMkLst>
      </pc:sldChg>
      <pc:sldChg chg="add del">
        <pc:chgData name="Rogers, Amanda (OST)" userId="S::amanda.rogers@ad.dot.gov::75b2722b-6ec1-4bf8-8a17-c8c89c83c278" providerId="AD" clId="Web-{FD975BBA-D043-0B8E-E38D-732BE8CC92EC}" dt="2023-10-04T14:47:43.532" v="18"/>
        <pc:sldMkLst>
          <pc:docMk/>
          <pc:sldMk cId="1337919833" sldId="299"/>
        </pc:sldMkLst>
      </pc:sldChg>
      <pc:sldChg chg="add">
        <pc:chgData name="Rogers, Amanda (OST)" userId="S::amanda.rogers@ad.dot.gov::75b2722b-6ec1-4bf8-8a17-c8c89c83c278" providerId="AD" clId="Web-{FD975BBA-D043-0B8E-E38D-732BE8CC92EC}" dt="2023-10-04T14:47:47.985" v="19"/>
        <pc:sldMkLst>
          <pc:docMk/>
          <pc:sldMk cId="3708523262" sldId="299"/>
        </pc:sldMkLst>
      </pc:sldChg>
      <pc:sldChg chg="add">
        <pc:chgData name="Rogers, Amanda (OST)" userId="S::amanda.rogers@ad.dot.gov::75b2722b-6ec1-4bf8-8a17-c8c89c83c278" providerId="AD" clId="Web-{FD975BBA-D043-0B8E-E38D-732BE8CC92EC}" dt="2023-10-04T14:48:16.173" v="21"/>
        <pc:sldMkLst>
          <pc:docMk/>
          <pc:sldMk cId="1527219422" sldId="300"/>
        </pc:sldMkLst>
      </pc:sldChg>
      <pc:sldChg chg="add">
        <pc:chgData name="Rogers, Amanda (OST)" userId="S::amanda.rogers@ad.dot.gov::75b2722b-6ec1-4bf8-8a17-c8c89c83c278" providerId="AD" clId="Web-{FD975BBA-D043-0B8E-E38D-732BE8CC92EC}" dt="2023-10-04T14:49:52.081" v="23"/>
        <pc:sldMkLst>
          <pc:docMk/>
          <pc:sldMk cId="604989117" sldId="301"/>
        </pc:sldMkLst>
      </pc:sldChg>
      <pc:sldChg chg="add">
        <pc:chgData name="Rogers, Amanda (OST)" userId="S::amanda.rogers@ad.dot.gov::75b2722b-6ec1-4bf8-8a17-c8c89c83c278" providerId="AD" clId="Web-{FD975BBA-D043-0B8E-E38D-732BE8CC92EC}" dt="2023-10-04T14:50:03.268" v="24"/>
        <pc:sldMkLst>
          <pc:docMk/>
          <pc:sldMk cId="1726362834" sldId="302"/>
        </pc:sldMkLst>
      </pc:sldChg>
      <pc:sldChg chg="add">
        <pc:chgData name="Rogers, Amanda (OST)" userId="S::amanda.rogers@ad.dot.gov::75b2722b-6ec1-4bf8-8a17-c8c89c83c278" providerId="AD" clId="Web-{FD975BBA-D043-0B8E-E38D-732BE8CC92EC}" dt="2023-10-04T14:50:10.597" v="25"/>
        <pc:sldMkLst>
          <pc:docMk/>
          <pc:sldMk cId="3783120677" sldId="303"/>
        </pc:sldMkLst>
      </pc:sldChg>
      <pc:sldChg chg="add">
        <pc:chgData name="Rogers, Amanda (OST)" userId="S::amanda.rogers@ad.dot.gov::75b2722b-6ec1-4bf8-8a17-c8c89c83c278" providerId="AD" clId="Web-{FD975BBA-D043-0B8E-E38D-732BE8CC92EC}" dt="2023-10-04T14:50:57.019" v="26"/>
        <pc:sldMkLst>
          <pc:docMk/>
          <pc:sldMk cId="4193536144" sldId="304"/>
        </pc:sldMkLst>
      </pc:sldChg>
      <pc:sldChg chg="add">
        <pc:chgData name="Rogers, Amanda (OST)" userId="S::amanda.rogers@ad.dot.gov::75b2722b-6ec1-4bf8-8a17-c8c89c83c278" providerId="AD" clId="Web-{FD975BBA-D043-0B8E-E38D-732BE8CC92EC}" dt="2023-10-04T14:51:04.879" v="27"/>
        <pc:sldMkLst>
          <pc:docMk/>
          <pc:sldMk cId="2554691948" sldId="305"/>
        </pc:sldMkLst>
      </pc:sldChg>
      <pc:sldChg chg="add del">
        <pc:chgData name="Rogers, Amanda (OST)" userId="S::amanda.rogers@ad.dot.gov::75b2722b-6ec1-4bf8-8a17-c8c89c83c278" providerId="AD" clId="Web-{FD975BBA-D043-0B8E-E38D-732BE8CC92EC}" dt="2023-10-04T15:13:24.718" v="115"/>
        <pc:sldMkLst>
          <pc:docMk/>
          <pc:sldMk cId="165371633" sldId="306"/>
        </pc:sldMkLst>
      </pc:sldChg>
      <pc:sldChg chg="add del">
        <pc:chgData name="Rogers, Amanda (OST)" userId="S::amanda.rogers@ad.dot.gov::75b2722b-6ec1-4bf8-8a17-c8c89c83c278" providerId="AD" clId="Web-{FD975BBA-D043-0B8E-E38D-732BE8CC92EC}" dt="2023-10-04T14:55:55.570" v="31"/>
        <pc:sldMkLst>
          <pc:docMk/>
          <pc:sldMk cId="1687193538" sldId="306"/>
        </pc:sldMkLst>
      </pc:sldChg>
      <pc:sldChg chg="add del">
        <pc:chgData name="Rogers, Amanda (OST)" userId="S::amanda.rogers@ad.dot.gov::75b2722b-6ec1-4bf8-8a17-c8c89c83c278" providerId="AD" clId="Web-{FD975BBA-D043-0B8E-E38D-732BE8CC92EC}" dt="2023-10-04T14:55:48.789" v="29"/>
        <pc:sldMkLst>
          <pc:docMk/>
          <pc:sldMk cId="3868549649" sldId="306"/>
        </pc:sldMkLst>
      </pc:sldChg>
      <pc:sldChg chg="modSp add del">
        <pc:chgData name="Rogers, Amanda (OST)" userId="S::amanda.rogers@ad.dot.gov::75b2722b-6ec1-4bf8-8a17-c8c89c83c278" providerId="AD" clId="Web-{FD975BBA-D043-0B8E-E38D-732BE8CC92EC}" dt="2023-10-04T15:16:05.987" v="163"/>
        <pc:sldMkLst>
          <pc:docMk/>
          <pc:sldMk cId="3026916038" sldId="307"/>
        </pc:sldMkLst>
        <pc:spChg chg="mod">
          <ac:chgData name="Rogers, Amanda (OST)" userId="S::amanda.rogers@ad.dot.gov::75b2722b-6ec1-4bf8-8a17-c8c89c83c278" providerId="AD" clId="Web-{FD975BBA-D043-0B8E-E38D-732BE8CC92EC}" dt="2023-10-04T15:14:21.157" v="145" actId="20577"/>
          <ac:spMkLst>
            <pc:docMk/>
            <pc:sldMk cId="3026916038" sldId="307"/>
            <ac:spMk id="3" creationId="{BD1CB64F-FA80-726C-5F8C-7BAC567C0045}"/>
          </ac:spMkLst>
        </pc:spChg>
      </pc:sldChg>
      <pc:sldChg chg="modSp add del">
        <pc:chgData name="Rogers, Amanda (OST)" userId="S::amanda.rogers@ad.dot.gov::75b2722b-6ec1-4bf8-8a17-c8c89c83c278" providerId="AD" clId="Web-{FD975BBA-D043-0B8E-E38D-732BE8CC92EC}" dt="2023-10-04T15:20:05.272" v="264"/>
        <pc:sldMkLst>
          <pc:docMk/>
          <pc:sldMk cId="167729958" sldId="308"/>
        </pc:sldMkLst>
        <pc:spChg chg="mod">
          <ac:chgData name="Rogers, Amanda (OST)" userId="S::amanda.rogers@ad.dot.gov::75b2722b-6ec1-4bf8-8a17-c8c89c83c278" providerId="AD" clId="Web-{FD975BBA-D043-0B8E-E38D-732BE8CC92EC}" dt="2023-10-04T15:16:51.863" v="208" actId="20577"/>
          <ac:spMkLst>
            <pc:docMk/>
            <pc:sldMk cId="167729958" sldId="308"/>
            <ac:spMk id="3" creationId="{C7E3E87C-9688-497C-1362-EFF2A5A530B4}"/>
          </ac:spMkLst>
        </pc:spChg>
      </pc:sldChg>
      <pc:sldChg chg="add del">
        <pc:chgData name="Rogers, Amanda (OST)" userId="S::amanda.rogers@ad.dot.gov::75b2722b-6ec1-4bf8-8a17-c8c89c83c278" providerId="AD" clId="Web-{FD975BBA-D043-0B8E-E38D-732BE8CC92EC}" dt="2023-10-04T15:09:11.213" v="53"/>
        <pc:sldMkLst>
          <pc:docMk/>
          <pc:sldMk cId="1755601063" sldId="309"/>
        </pc:sldMkLst>
      </pc:sldChg>
      <pc:sldChg chg="modSp add del">
        <pc:chgData name="Rogers, Amanda (OST)" userId="S::amanda.rogers@ad.dot.gov::75b2722b-6ec1-4bf8-8a17-c8c89c83c278" providerId="AD" clId="Web-{FD975BBA-D043-0B8E-E38D-732BE8CC92EC}" dt="2023-10-04T18:47:52.689" v="432"/>
        <pc:sldMkLst>
          <pc:docMk/>
          <pc:sldMk cId="1021712183" sldId="310"/>
        </pc:sldMkLst>
        <pc:spChg chg="mod">
          <ac:chgData name="Rogers, Amanda (OST)" userId="S::amanda.rogers@ad.dot.gov::75b2722b-6ec1-4bf8-8a17-c8c89c83c278" providerId="AD" clId="Web-{FD975BBA-D043-0B8E-E38D-732BE8CC92EC}" dt="2023-10-04T18:46:06.438" v="410" actId="20577"/>
          <ac:spMkLst>
            <pc:docMk/>
            <pc:sldMk cId="1021712183" sldId="310"/>
            <ac:spMk id="2" creationId="{F0A54A89-736A-3AB5-A2EB-B6FF2323B1E4}"/>
          </ac:spMkLst>
        </pc:spChg>
      </pc:sldChg>
      <pc:sldChg chg="add">
        <pc:chgData name="Rogers, Amanda (OST)" userId="S::amanda.rogers@ad.dot.gov::75b2722b-6ec1-4bf8-8a17-c8c89c83c278" providerId="AD" clId="Web-{FD975BBA-D043-0B8E-E38D-732BE8CC92EC}" dt="2023-10-04T14:57:18.775" v="37"/>
        <pc:sldMkLst>
          <pc:docMk/>
          <pc:sldMk cId="385378943" sldId="311"/>
        </pc:sldMkLst>
      </pc:sldChg>
      <pc:sldChg chg="modSp add del">
        <pc:chgData name="Rogers, Amanda (OST)" userId="S::amanda.rogers@ad.dot.gov::75b2722b-6ec1-4bf8-8a17-c8c89c83c278" providerId="AD" clId="Web-{FD975BBA-D043-0B8E-E38D-732BE8CC92EC}" dt="2023-10-04T18:44:01.436" v="367"/>
        <pc:sldMkLst>
          <pc:docMk/>
          <pc:sldMk cId="4204764253" sldId="312"/>
        </pc:sldMkLst>
        <pc:spChg chg="mod">
          <ac:chgData name="Rogers, Amanda (OST)" userId="S::amanda.rogers@ad.dot.gov::75b2722b-6ec1-4bf8-8a17-c8c89c83c278" providerId="AD" clId="Web-{FD975BBA-D043-0B8E-E38D-732BE8CC92EC}" dt="2023-10-04T18:43:37.185" v="361" actId="20577"/>
          <ac:spMkLst>
            <pc:docMk/>
            <pc:sldMk cId="4204764253" sldId="312"/>
            <ac:spMk id="7" creationId="{9C4A09DF-B42C-ADDB-116D-1DA6238B55D1}"/>
          </ac:spMkLst>
        </pc:spChg>
      </pc:sldChg>
      <pc:sldChg chg="addSp delSp add del">
        <pc:chgData name="Rogers, Amanda (OST)" userId="S::amanda.rogers@ad.dot.gov::75b2722b-6ec1-4bf8-8a17-c8c89c83c278" providerId="AD" clId="Web-{FD975BBA-D043-0B8E-E38D-732BE8CC92EC}" dt="2023-10-04T15:22:34.088" v="308"/>
        <pc:sldMkLst>
          <pc:docMk/>
          <pc:sldMk cId="484315204" sldId="313"/>
        </pc:sldMkLst>
        <pc:spChg chg="add">
          <ac:chgData name="Rogers, Amanda (OST)" userId="S::amanda.rogers@ad.dot.gov::75b2722b-6ec1-4bf8-8a17-c8c89c83c278" providerId="AD" clId="Web-{FD975BBA-D043-0B8E-E38D-732BE8CC92EC}" dt="2023-10-04T15:22:12.634" v="306"/>
          <ac:spMkLst>
            <pc:docMk/>
            <pc:sldMk cId="484315204" sldId="313"/>
            <ac:spMk id="5" creationId="{2CB55922-6EA7-95FF-05ED-8D25207613B2}"/>
          </ac:spMkLst>
        </pc:spChg>
        <pc:spChg chg="del topLvl">
          <ac:chgData name="Rogers, Amanda (OST)" userId="S::amanda.rogers@ad.dot.gov::75b2722b-6ec1-4bf8-8a17-c8c89c83c278" providerId="AD" clId="Web-{FD975BBA-D043-0B8E-E38D-732BE8CC92EC}" dt="2023-10-04T15:21:54.400" v="304"/>
          <ac:spMkLst>
            <pc:docMk/>
            <pc:sldMk cId="484315204" sldId="313"/>
            <ac:spMk id="28" creationId="{20990913-BC63-CA68-136E-EB86A77BC5EE}"/>
          </ac:spMkLst>
        </pc:spChg>
        <pc:grpChg chg="del">
          <ac:chgData name="Rogers, Amanda (OST)" userId="S::amanda.rogers@ad.dot.gov::75b2722b-6ec1-4bf8-8a17-c8c89c83c278" providerId="AD" clId="Web-{FD975BBA-D043-0B8E-E38D-732BE8CC92EC}" dt="2023-10-04T15:21:54.400" v="304"/>
          <ac:grpSpMkLst>
            <pc:docMk/>
            <pc:sldMk cId="484315204" sldId="313"/>
            <ac:grpSpMk id="26" creationId="{E34DBAE8-1C3B-E968-042E-77232B0C33F0}"/>
          </ac:grpSpMkLst>
        </pc:grpChg>
        <pc:cxnChg chg="topLvl">
          <ac:chgData name="Rogers, Amanda (OST)" userId="S::amanda.rogers@ad.dot.gov::75b2722b-6ec1-4bf8-8a17-c8c89c83c278" providerId="AD" clId="Web-{FD975BBA-D043-0B8E-E38D-732BE8CC92EC}" dt="2023-10-04T15:21:54.400" v="304"/>
          <ac:cxnSpMkLst>
            <pc:docMk/>
            <pc:sldMk cId="484315204" sldId="313"/>
            <ac:cxnSpMk id="27" creationId="{B3987B14-9F56-ACD9-4606-FBB91697E2C7}"/>
          </ac:cxnSpMkLst>
        </pc:cxnChg>
      </pc:sldChg>
      <pc:sldChg chg="add del">
        <pc:chgData name="Rogers, Amanda (OST)" userId="S::amanda.rogers@ad.dot.gov::75b2722b-6ec1-4bf8-8a17-c8c89c83c278" providerId="AD" clId="Web-{FD975BBA-D043-0B8E-E38D-732BE8CC92EC}" dt="2023-10-04T15:09:20.416" v="54"/>
        <pc:sldMkLst>
          <pc:docMk/>
          <pc:sldMk cId="4159393854" sldId="314"/>
        </pc:sldMkLst>
      </pc:sldChg>
      <pc:sldChg chg="add">
        <pc:chgData name="Rogers, Amanda (OST)" userId="S::amanda.rogers@ad.dot.gov::75b2722b-6ec1-4bf8-8a17-c8c89c83c278" providerId="AD" clId="Web-{FD975BBA-D043-0B8E-E38D-732BE8CC92EC}" dt="2023-10-04T14:59:59.543" v="41"/>
        <pc:sldMkLst>
          <pc:docMk/>
          <pc:sldMk cId="3888943211" sldId="315"/>
        </pc:sldMkLst>
      </pc:sldChg>
      <pc:sldChg chg="add">
        <pc:chgData name="Rogers, Amanda (OST)" userId="S::amanda.rogers@ad.dot.gov::75b2722b-6ec1-4bf8-8a17-c8c89c83c278" providerId="AD" clId="Web-{FD975BBA-D043-0B8E-E38D-732BE8CC92EC}" dt="2023-10-04T15:00:23.730" v="42"/>
        <pc:sldMkLst>
          <pc:docMk/>
          <pc:sldMk cId="2486704291" sldId="316"/>
        </pc:sldMkLst>
      </pc:sldChg>
      <pc:sldChg chg="add">
        <pc:chgData name="Rogers, Amanda (OST)" userId="S::amanda.rogers@ad.dot.gov::75b2722b-6ec1-4bf8-8a17-c8c89c83c278" providerId="AD" clId="Web-{FD975BBA-D043-0B8E-E38D-732BE8CC92EC}" dt="2023-10-04T15:00:56.309" v="44"/>
        <pc:sldMkLst>
          <pc:docMk/>
          <pc:sldMk cId="1623564173" sldId="317"/>
        </pc:sldMkLst>
      </pc:sldChg>
      <pc:sldChg chg="add">
        <pc:chgData name="Rogers, Amanda (OST)" userId="S::amanda.rogers@ad.dot.gov::75b2722b-6ec1-4bf8-8a17-c8c89c83c278" providerId="AD" clId="Web-{FD975BBA-D043-0B8E-E38D-732BE8CC92EC}" dt="2023-10-04T15:01:15.215" v="45"/>
        <pc:sldMkLst>
          <pc:docMk/>
          <pc:sldMk cId="974119452" sldId="318"/>
        </pc:sldMkLst>
      </pc:sldChg>
      <pc:sldChg chg="add">
        <pc:chgData name="Rogers, Amanda (OST)" userId="S::amanda.rogers@ad.dot.gov::75b2722b-6ec1-4bf8-8a17-c8c89c83c278" providerId="AD" clId="Web-{FD975BBA-D043-0B8E-E38D-732BE8CC92EC}" dt="2023-10-04T15:01:34.169" v="46"/>
        <pc:sldMkLst>
          <pc:docMk/>
          <pc:sldMk cId="1768748921" sldId="319"/>
        </pc:sldMkLst>
      </pc:sldChg>
      <pc:sldChg chg="add">
        <pc:chgData name="Rogers, Amanda (OST)" userId="S::amanda.rogers@ad.dot.gov::75b2722b-6ec1-4bf8-8a17-c8c89c83c278" providerId="AD" clId="Web-{FD975BBA-D043-0B8E-E38D-732BE8CC92EC}" dt="2023-10-04T15:02:01.029" v="47"/>
        <pc:sldMkLst>
          <pc:docMk/>
          <pc:sldMk cId="3815437137" sldId="320"/>
        </pc:sldMkLst>
      </pc:sldChg>
      <pc:sldChg chg="add">
        <pc:chgData name="Rogers, Amanda (OST)" userId="S::amanda.rogers@ad.dot.gov::75b2722b-6ec1-4bf8-8a17-c8c89c83c278" providerId="AD" clId="Web-{FD975BBA-D043-0B8E-E38D-732BE8CC92EC}" dt="2023-10-04T15:02:57.769" v="48"/>
        <pc:sldMkLst>
          <pc:docMk/>
          <pc:sldMk cId="4259975463" sldId="321"/>
        </pc:sldMkLst>
      </pc:sldChg>
      <pc:sldChg chg="add">
        <pc:chgData name="Rogers, Amanda (OST)" userId="S::amanda.rogers@ad.dot.gov::75b2722b-6ec1-4bf8-8a17-c8c89c83c278" providerId="AD" clId="Web-{FD975BBA-D043-0B8E-E38D-732BE8CC92EC}" dt="2023-10-04T15:03:12.566" v="49"/>
        <pc:sldMkLst>
          <pc:docMk/>
          <pc:sldMk cId="1232594561" sldId="322"/>
        </pc:sldMkLst>
      </pc:sldChg>
      <pc:sldChg chg="add">
        <pc:chgData name="Rogers, Amanda (OST)" userId="S::amanda.rogers@ad.dot.gov::75b2722b-6ec1-4bf8-8a17-c8c89c83c278" providerId="AD" clId="Web-{FD975BBA-D043-0B8E-E38D-732BE8CC92EC}" dt="2023-10-04T15:03:21.581" v="50"/>
        <pc:sldMkLst>
          <pc:docMk/>
          <pc:sldMk cId="3900069071" sldId="323"/>
        </pc:sldMkLst>
      </pc:sldChg>
      <pc:sldChg chg="add">
        <pc:chgData name="Rogers, Amanda (OST)" userId="S::amanda.rogers@ad.dot.gov::75b2722b-6ec1-4bf8-8a17-c8c89c83c278" providerId="AD" clId="Web-{FD975BBA-D043-0B8E-E38D-732BE8CC92EC}" dt="2023-10-04T15:03:40.566" v="51"/>
        <pc:sldMkLst>
          <pc:docMk/>
          <pc:sldMk cId="1845634216" sldId="324"/>
        </pc:sldMkLst>
      </pc:sldChg>
      <pc:sldChg chg="add">
        <pc:chgData name="Rogers, Amanda (OST)" userId="S::amanda.rogers@ad.dot.gov::75b2722b-6ec1-4bf8-8a17-c8c89c83c278" providerId="AD" clId="Web-{FD975BBA-D043-0B8E-E38D-732BE8CC92EC}" dt="2023-10-04T15:03:57.895" v="52"/>
        <pc:sldMkLst>
          <pc:docMk/>
          <pc:sldMk cId="1808776113" sldId="325"/>
        </pc:sldMkLst>
      </pc:sldChg>
      <pc:sldChg chg="addSp delSp modSp new addAnim delAnim modNotes">
        <pc:chgData name="Rogers, Amanda (OST)" userId="S::amanda.rogers@ad.dot.gov::75b2722b-6ec1-4bf8-8a17-c8c89c83c278" providerId="AD" clId="Web-{FD975BBA-D043-0B8E-E38D-732BE8CC92EC}" dt="2023-10-04T15:12:36.811" v="113"/>
        <pc:sldMkLst>
          <pc:docMk/>
          <pc:sldMk cId="726770146" sldId="326"/>
        </pc:sldMkLst>
        <pc:spChg chg="del">
          <ac:chgData name="Rogers, Amanda (OST)" userId="S::amanda.rogers@ad.dot.gov::75b2722b-6ec1-4bf8-8a17-c8c89c83c278" providerId="AD" clId="Web-{FD975BBA-D043-0B8E-E38D-732BE8CC92EC}" dt="2023-10-04T15:10:42.590" v="100"/>
          <ac:spMkLst>
            <pc:docMk/>
            <pc:sldMk cId="726770146" sldId="326"/>
            <ac:spMk id="2" creationId="{B4BE748D-CA51-977D-F34F-94D8F8E6B039}"/>
          </ac:spMkLst>
        </pc:spChg>
        <pc:spChg chg="add mod">
          <ac:chgData name="Rogers, Amanda (OST)" userId="S::amanda.rogers@ad.dot.gov::75b2722b-6ec1-4bf8-8a17-c8c89c83c278" providerId="AD" clId="Web-{FD975BBA-D043-0B8E-E38D-732BE8CC92EC}" dt="2023-10-04T15:10:26.136" v="96" actId="20577"/>
          <ac:spMkLst>
            <pc:docMk/>
            <pc:sldMk cId="726770146" sldId="326"/>
            <ac:spMk id="4" creationId="{02025852-FD71-B69B-5BBE-5E229259366A}"/>
          </ac:spMkLst>
        </pc:spChg>
        <pc:spChg chg="add">
          <ac:chgData name="Rogers, Amanda (OST)" userId="S::amanda.rogers@ad.dot.gov::75b2722b-6ec1-4bf8-8a17-c8c89c83c278" providerId="AD" clId="Web-{FD975BBA-D043-0B8E-E38D-732BE8CC92EC}" dt="2023-10-04T15:10:38.574" v="97"/>
          <ac:spMkLst>
            <pc:docMk/>
            <pc:sldMk cId="726770146" sldId="326"/>
            <ac:spMk id="6" creationId="{D2E10C59-4272-4146-621B-29E97A1B27CF}"/>
          </ac:spMkLst>
        </pc:spChg>
        <pc:spChg chg="add">
          <ac:chgData name="Rogers, Amanda (OST)" userId="S::amanda.rogers@ad.dot.gov::75b2722b-6ec1-4bf8-8a17-c8c89c83c278" providerId="AD" clId="Web-{FD975BBA-D043-0B8E-E38D-732BE8CC92EC}" dt="2023-10-04T15:10:38.605" v="98"/>
          <ac:spMkLst>
            <pc:docMk/>
            <pc:sldMk cId="726770146" sldId="326"/>
            <ac:spMk id="8" creationId="{9D66800A-4074-077C-5897-D05AA0246E4B}"/>
          </ac:spMkLst>
        </pc:spChg>
        <pc:spChg chg="add del">
          <ac:chgData name="Rogers, Amanda (OST)" userId="S::amanda.rogers@ad.dot.gov::75b2722b-6ec1-4bf8-8a17-c8c89c83c278" providerId="AD" clId="Web-{FD975BBA-D043-0B8E-E38D-732BE8CC92EC}" dt="2023-10-04T15:10:58.746" v="101"/>
          <ac:spMkLst>
            <pc:docMk/>
            <pc:sldMk cId="726770146" sldId="326"/>
            <ac:spMk id="10" creationId="{15F63DA6-1D75-3D3B-C85B-3E96B67D0FEE}"/>
          </ac:spMkLst>
        </pc:spChg>
        <pc:spChg chg="add">
          <ac:chgData name="Rogers, Amanda (OST)" userId="S::amanda.rogers@ad.dot.gov::75b2722b-6ec1-4bf8-8a17-c8c89c83c278" providerId="AD" clId="Web-{FD975BBA-D043-0B8E-E38D-732BE8CC92EC}" dt="2023-10-04T15:11:06.684" v="102"/>
          <ac:spMkLst>
            <pc:docMk/>
            <pc:sldMk cId="726770146" sldId="326"/>
            <ac:spMk id="12" creationId="{EC1902A0-BADD-5C69-7264-0C08DEA274BB}"/>
          </ac:spMkLst>
        </pc:spChg>
        <pc:spChg chg="add">
          <ac:chgData name="Rogers, Amanda (OST)" userId="S::amanda.rogers@ad.dot.gov::75b2722b-6ec1-4bf8-8a17-c8c89c83c278" providerId="AD" clId="Web-{FD975BBA-D043-0B8E-E38D-732BE8CC92EC}" dt="2023-10-04T15:11:16.731" v="103"/>
          <ac:spMkLst>
            <pc:docMk/>
            <pc:sldMk cId="726770146" sldId="326"/>
            <ac:spMk id="14" creationId="{009722E3-CF87-ACBE-1A81-4364E8B2B8A6}"/>
          </ac:spMkLst>
        </pc:spChg>
        <pc:spChg chg="add mod">
          <ac:chgData name="Rogers, Amanda (OST)" userId="S::amanda.rogers@ad.dot.gov::75b2722b-6ec1-4bf8-8a17-c8c89c83c278" providerId="AD" clId="Web-{FD975BBA-D043-0B8E-E38D-732BE8CC92EC}" dt="2023-10-04T15:12:01.623" v="111" actId="14100"/>
          <ac:spMkLst>
            <pc:docMk/>
            <pc:sldMk cId="726770146" sldId="326"/>
            <ac:spMk id="16" creationId="{B6F65DB8-AB4B-6E47-895E-ADE53B55CE63}"/>
          </ac:spMkLst>
        </pc:spChg>
      </pc:sldChg>
      <pc:sldChg chg="addSp delSp modSp new modNotes">
        <pc:chgData name="Rogers, Amanda (OST)" userId="S::amanda.rogers@ad.dot.gov::75b2722b-6ec1-4bf8-8a17-c8c89c83c278" providerId="AD" clId="Web-{FD975BBA-D043-0B8E-E38D-732BE8CC92EC}" dt="2023-10-04T15:20:01.413" v="263"/>
        <pc:sldMkLst>
          <pc:docMk/>
          <pc:sldMk cId="3968753263" sldId="327"/>
        </pc:sldMkLst>
        <pc:spChg chg="del">
          <ac:chgData name="Rogers, Amanda (OST)" userId="S::amanda.rogers@ad.dot.gov::75b2722b-6ec1-4bf8-8a17-c8c89c83c278" providerId="AD" clId="Web-{FD975BBA-D043-0B8E-E38D-732BE8CC92EC}" dt="2023-10-04T15:16:39.222" v="206"/>
          <ac:spMkLst>
            <pc:docMk/>
            <pc:sldMk cId="3968753263" sldId="327"/>
            <ac:spMk id="2" creationId="{A9B284D4-65CB-DACB-38EC-E314442274F3}"/>
          </ac:spMkLst>
        </pc:spChg>
        <pc:spChg chg="add mod">
          <ac:chgData name="Rogers, Amanda (OST)" userId="S::amanda.rogers@ad.dot.gov::75b2722b-6ec1-4bf8-8a17-c8c89c83c278" providerId="AD" clId="Web-{FD975BBA-D043-0B8E-E38D-732BE8CC92EC}" dt="2023-10-04T15:16:34.862" v="205" actId="20577"/>
          <ac:spMkLst>
            <pc:docMk/>
            <pc:sldMk cId="3968753263" sldId="327"/>
            <ac:spMk id="4" creationId="{142E5AF1-FA73-3336-A1E5-013B264B51F0}"/>
          </ac:spMkLst>
        </pc:spChg>
        <pc:spChg chg="add mod">
          <ac:chgData name="Rogers, Amanda (OST)" userId="S::amanda.rogers@ad.dot.gov::75b2722b-6ec1-4bf8-8a17-c8c89c83c278" providerId="AD" clId="Web-{FD975BBA-D043-0B8E-E38D-732BE8CC92EC}" dt="2023-10-04T15:19:20.725" v="258" actId="1076"/>
          <ac:spMkLst>
            <pc:docMk/>
            <pc:sldMk cId="3968753263" sldId="327"/>
            <ac:spMk id="6" creationId="{EB1E2E1F-E054-FB3E-F5AC-5933E145CC63}"/>
          </ac:spMkLst>
        </pc:spChg>
        <pc:spChg chg="add mod">
          <ac:chgData name="Rogers, Amanda (OST)" userId="S::amanda.rogers@ad.dot.gov::75b2722b-6ec1-4bf8-8a17-c8c89c83c278" providerId="AD" clId="Web-{FD975BBA-D043-0B8E-E38D-732BE8CC92EC}" dt="2023-10-04T15:19:24.553" v="259" actId="1076"/>
          <ac:spMkLst>
            <pc:docMk/>
            <pc:sldMk cId="3968753263" sldId="327"/>
            <ac:spMk id="8" creationId="{09251986-900B-C8EB-5FD5-8C912BFB6092}"/>
          </ac:spMkLst>
        </pc:spChg>
        <pc:spChg chg="add mod">
          <ac:chgData name="Rogers, Amanda (OST)" userId="S::amanda.rogers@ad.dot.gov::75b2722b-6ec1-4bf8-8a17-c8c89c83c278" providerId="AD" clId="Web-{FD975BBA-D043-0B8E-E38D-732BE8CC92EC}" dt="2023-10-04T15:19:30.491" v="260" actId="1076"/>
          <ac:spMkLst>
            <pc:docMk/>
            <pc:sldMk cId="3968753263" sldId="327"/>
            <ac:spMk id="10" creationId="{9964C809-5A9C-4CD5-F135-DA4E0C106363}"/>
          </ac:spMkLst>
        </pc:spChg>
      </pc:sldChg>
      <pc:sldChg chg="addSp delSp modSp new del">
        <pc:chgData name="Rogers, Amanda (OST)" userId="S::amanda.rogers@ad.dot.gov::75b2722b-6ec1-4bf8-8a17-c8c89c83c278" providerId="AD" clId="Web-{FD975BBA-D043-0B8E-E38D-732BE8CC92EC}" dt="2023-10-04T15:16:03.002" v="162"/>
        <pc:sldMkLst>
          <pc:docMk/>
          <pc:sldMk cId="4009412518" sldId="327"/>
        </pc:sldMkLst>
        <pc:spChg chg="del">
          <ac:chgData name="Rogers, Amanda (OST)" userId="S::amanda.rogers@ad.dot.gov::75b2722b-6ec1-4bf8-8a17-c8c89c83c278" providerId="AD" clId="Web-{FD975BBA-D043-0B8E-E38D-732BE8CC92EC}" dt="2023-10-04T15:13:55.406" v="143"/>
          <ac:spMkLst>
            <pc:docMk/>
            <pc:sldMk cId="4009412518" sldId="327"/>
            <ac:spMk id="2" creationId="{40FB2DB0-E3D2-11B3-C06D-55A3DB725E7B}"/>
          </ac:spMkLst>
        </pc:spChg>
        <pc:spChg chg="add mod">
          <ac:chgData name="Rogers, Amanda (OST)" userId="S::amanda.rogers@ad.dot.gov::75b2722b-6ec1-4bf8-8a17-c8c89c83c278" providerId="AD" clId="Web-{FD975BBA-D043-0B8E-E38D-732BE8CC92EC}" dt="2023-10-04T15:13:51.812" v="142" actId="20577"/>
          <ac:spMkLst>
            <pc:docMk/>
            <pc:sldMk cId="4009412518" sldId="327"/>
            <ac:spMk id="4" creationId="{FBEF7019-2167-C183-E4B0-6C850AB0C194}"/>
          </ac:spMkLst>
        </pc:spChg>
        <pc:spChg chg="add mod">
          <ac:chgData name="Rogers, Amanda (OST)" userId="S::amanda.rogers@ad.dot.gov::75b2722b-6ec1-4bf8-8a17-c8c89c83c278" providerId="AD" clId="Web-{FD975BBA-D043-0B8E-E38D-732BE8CC92EC}" dt="2023-10-04T15:15:57.237" v="161" actId="20577"/>
          <ac:spMkLst>
            <pc:docMk/>
            <pc:sldMk cId="4009412518" sldId="327"/>
            <ac:spMk id="6" creationId="{08AE6AAE-39D6-5FCF-1214-E2BBBD42D2AF}"/>
          </ac:spMkLst>
        </pc:spChg>
        <pc:spChg chg="add mod">
          <ac:chgData name="Rogers, Amanda (OST)" userId="S::amanda.rogers@ad.dot.gov::75b2722b-6ec1-4bf8-8a17-c8c89c83c278" providerId="AD" clId="Web-{FD975BBA-D043-0B8E-E38D-732BE8CC92EC}" dt="2023-10-04T15:15:07.048" v="153" actId="14100"/>
          <ac:spMkLst>
            <pc:docMk/>
            <pc:sldMk cId="4009412518" sldId="327"/>
            <ac:spMk id="11" creationId="{7AAF7AFD-8BDC-ECB5-06C3-8AB60158D08F}"/>
          </ac:spMkLst>
        </pc:spChg>
        <pc:graphicFrameChg chg="add mod modGraphic">
          <ac:chgData name="Rogers, Amanda (OST)" userId="S::amanda.rogers@ad.dot.gov::75b2722b-6ec1-4bf8-8a17-c8c89c83c278" providerId="AD" clId="Web-{FD975BBA-D043-0B8E-E38D-732BE8CC92EC}" dt="2023-10-04T15:15:37.346" v="157"/>
          <ac:graphicFrameMkLst>
            <pc:docMk/>
            <pc:sldMk cId="4009412518" sldId="327"/>
            <ac:graphicFrameMk id="8" creationId="{2A511795-8ED5-D0FE-FD0C-89971BC8E87B}"/>
          </ac:graphicFrameMkLst>
        </pc:graphicFrameChg>
        <pc:picChg chg="add mod">
          <ac:chgData name="Rogers, Amanda (OST)" userId="S::amanda.rogers@ad.dot.gov::75b2722b-6ec1-4bf8-8a17-c8c89c83c278" providerId="AD" clId="Web-{FD975BBA-D043-0B8E-E38D-732BE8CC92EC}" dt="2023-10-04T15:15:45.846" v="159" actId="14100"/>
          <ac:picMkLst>
            <pc:docMk/>
            <pc:sldMk cId="4009412518" sldId="327"/>
            <ac:picMk id="10" creationId="{6C9E2AE8-12B4-077E-911B-43DDC837C0B2}"/>
          </ac:picMkLst>
        </pc:picChg>
      </pc:sldChg>
      <pc:sldChg chg="new del">
        <pc:chgData name="Rogers, Amanda (OST)" userId="S::amanda.rogers@ad.dot.gov::75b2722b-6ec1-4bf8-8a17-c8c89c83c278" providerId="AD" clId="Web-{FD975BBA-D043-0B8E-E38D-732BE8CC92EC}" dt="2023-10-04T15:20:37.820" v="267"/>
        <pc:sldMkLst>
          <pc:docMk/>
          <pc:sldMk cId="2559656609" sldId="328"/>
        </pc:sldMkLst>
      </pc:sldChg>
      <pc:sldChg chg="addSp delSp modSp new ord">
        <pc:chgData name="Rogers, Amanda (OST)" userId="S::amanda.rogers@ad.dot.gov::75b2722b-6ec1-4bf8-8a17-c8c89c83c278" providerId="AD" clId="Web-{FD975BBA-D043-0B8E-E38D-732BE8CC92EC}" dt="2023-10-04T15:22:28.541" v="307"/>
        <pc:sldMkLst>
          <pc:docMk/>
          <pc:sldMk cId="3665956720" sldId="329"/>
        </pc:sldMkLst>
        <pc:spChg chg="del">
          <ac:chgData name="Rogers, Amanda (OST)" userId="S::amanda.rogers@ad.dot.gov::75b2722b-6ec1-4bf8-8a17-c8c89c83c278" providerId="AD" clId="Web-{FD975BBA-D043-0B8E-E38D-732BE8CC92EC}" dt="2023-10-04T15:21:10.539" v="295"/>
          <ac:spMkLst>
            <pc:docMk/>
            <pc:sldMk cId="3665956720" sldId="329"/>
            <ac:spMk id="2" creationId="{1F428389-F14F-36C8-4AEA-2EDE33598741}"/>
          </ac:spMkLst>
        </pc:spChg>
        <pc:spChg chg="add mod">
          <ac:chgData name="Rogers, Amanda (OST)" userId="S::amanda.rogers@ad.dot.gov::75b2722b-6ec1-4bf8-8a17-c8c89c83c278" providerId="AD" clId="Web-{FD975BBA-D043-0B8E-E38D-732BE8CC92EC}" dt="2023-10-04T15:21:08.867" v="294" actId="20577"/>
          <ac:spMkLst>
            <pc:docMk/>
            <pc:sldMk cId="3665956720" sldId="329"/>
            <ac:spMk id="4" creationId="{D548F360-AF0F-BD35-D867-23BA93934AB5}"/>
          </ac:spMkLst>
        </pc:spChg>
        <pc:spChg chg="add">
          <ac:chgData name="Rogers, Amanda (OST)" userId="S::amanda.rogers@ad.dot.gov::75b2722b-6ec1-4bf8-8a17-c8c89c83c278" providerId="AD" clId="Web-{FD975BBA-D043-0B8E-E38D-732BE8CC92EC}" dt="2023-10-04T15:21:27.227" v="301"/>
          <ac:spMkLst>
            <pc:docMk/>
            <pc:sldMk cId="3665956720" sldId="329"/>
            <ac:spMk id="20" creationId="{7803AE3B-FF14-6797-364B-305B290896FA}"/>
          </ac:spMkLst>
        </pc:spChg>
        <pc:spChg chg="add del">
          <ac:chgData name="Rogers, Amanda (OST)" userId="S::amanda.rogers@ad.dot.gov::75b2722b-6ec1-4bf8-8a17-c8c89c83c278" providerId="AD" clId="Web-{FD975BBA-D043-0B8E-E38D-732BE8CC92EC}" dt="2023-10-04T15:21:46.915" v="303"/>
          <ac:spMkLst>
            <pc:docMk/>
            <pc:sldMk cId="3665956720" sldId="329"/>
            <ac:spMk id="22" creationId="{9A83C874-78AA-9F82-2940-4C50E20FC28E}"/>
          </ac:spMkLst>
        </pc:spChg>
        <pc:spChg chg="add">
          <ac:chgData name="Rogers, Amanda (OST)" userId="S::amanda.rogers@ad.dot.gov::75b2722b-6ec1-4bf8-8a17-c8c89c83c278" providerId="AD" clId="Web-{FD975BBA-D043-0B8E-E38D-732BE8CC92EC}" dt="2023-10-04T15:22:28.541" v="307"/>
          <ac:spMkLst>
            <pc:docMk/>
            <pc:sldMk cId="3665956720" sldId="329"/>
            <ac:spMk id="26" creationId="{5404D681-5789-3952-06EE-4D419012DF08}"/>
          </ac:spMkLst>
        </pc:spChg>
        <pc:grpChg chg="add">
          <ac:chgData name="Rogers, Amanda (OST)" userId="S::amanda.rogers@ad.dot.gov::75b2722b-6ec1-4bf8-8a17-c8c89c83c278" providerId="AD" clId="Web-{FD975BBA-D043-0B8E-E38D-732BE8CC92EC}" dt="2023-10-04T15:21:18.805" v="296"/>
          <ac:grpSpMkLst>
            <pc:docMk/>
            <pc:sldMk cId="3665956720" sldId="329"/>
            <ac:grpSpMk id="8" creationId="{2CF458B1-BF74-C57F-EF68-6E2AD0EE2B34}"/>
          </ac:grpSpMkLst>
        </pc:grpChg>
        <pc:grpChg chg="add">
          <ac:chgData name="Rogers, Amanda (OST)" userId="S::amanda.rogers@ad.dot.gov::75b2722b-6ec1-4bf8-8a17-c8c89c83c278" providerId="AD" clId="Web-{FD975BBA-D043-0B8E-E38D-732BE8CC92EC}" dt="2023-10-04T15:21:18.852" v="297"/>
          <ac:grpSpMkLst>
            <pc:docMk/>
            <pc:sldMk cId="3665956720" sldId="329"/>
            <ac:grpSpMk id="12" creationId="{4AB17F67-1858-380C-7525-973620B95268}"/>
          </ac:grpSpMkLst>
        </pc:grpChg>
        <pc:picChg chg="add">
          <ac:chgData name="Rogers, Amanda (OST)" userId="S::amanda.rogers@ad.dot.gov::75b2722b-6ec1-4bf8-8a17-c8c89c83c278" providerId="AD" clId="Web-{FD975BBA-D043-0B8E-E38D-732BE8CC92EC}" dt="2023-10-04T15:21:18.868" v="298"/>
          <ac:picMkLst>
            <pc:docMk/>
            <pc:sldMk cId="3665956720" sldId="329"/>
            <ac:picMk id="14" creationId="{A3623DC9-3746-A101-AB84-4ECD9538936D}"/>
          </ac:picMkLst>
        </pc:picChg>
        <pc:picChg chg="add">
          <ac:chgData name="Rogers, Amanda (OST)" userId="S::amanda.rogers@ad.dot.gov::75b2722b-6ec1-4bf8-8a17-c8c89c83c278" providerId="AD" clId="Web-{FD975BBA-D043-0B8E-E38D-732BE8CC92EC}" dt="2023-10-04T15:21:18.899" v="299"/>
          <ac:picMkLst>
            <pc:docMk/>
            <pc:sldMk cId="3665956720" sldId="329"/>
            <ac:picMk id="16" creationId="{2426E5B6-203C-D813-1BFA-805F12CA6BEA}"/>
          </ac:picMkLst>
        </pc:picChg>
        <pc:picChg chg="add">
          <ac:chgData name="Rogers, Amanda (OST)" userId="S::amanda.rogers@ad.dot.gov::75b2722b-6ec1-4bf8-8a17-c8c89c83c278" providerId="AD" clId="Web-{FD975BBA-D043-0B8E-E38D-732BE8CC92EC}" dt="2023-10-04T15:21:18.930" v="300"/>
          <ac:picMkLst>
            <pc:docMk/>
            <pc:sldMk cId="3665956720" sldId="329"/>
            <ac:picMk id="18" creationId="{BB4572B0-89D7-1B91-0E65-52F55818E318}"/>
          </ac:picMkLst>
        </pc:picChg>
        <pc:cxnChg chg="add">
          <ac:chgData name="Rogers, Amanda (OST)" userId="S::amanda.rogers@ad.dot.gov::75b2722b-6ec1-4bf8-8a17-c8c89c83c278" providerId="AD" clId="Web-{FD975BBA-D043-0B8E-E38D-732BE8CC92EC}" dt="2023-10-04T15:21:59.415" v="305"/>
          <ac:cxnSpMkLst>
            <pc:docMk/>
            <pc:sldMk cId="3665956720" sldId="329"/>
            <ac:cxnSpMk id="24" creationId="{8EF118A0-1889-D2F3-035F-A1FAFCE879F2}"/>
          </ac:cxnSpMkLst>
        </pc:cxnChg>
      </pc:sldChg>
      <pc:sldChg chg="addSp delSp modSp new ord modNotes">
        <pc:chgData name="Rogers, Amanda (OST)" userId="S::amanda.rogers@ad.dot.gov::75b2722b-6ec1-4bf8-8a17-c8c89c83c278" providerId="AD" clId="Web-{FD975BBA-D043-0B8E-E38D-732BE8CC92EC}" dt="2023-10-04T18:47:43.439" v="431" actId="1076"/>
        <pc:sldMkLst>
          <pc:docMk/>
          <pc:sldMk cId="4071938262" sldId="330"/>
        </pc:sldMkLst>
        <pc:spChg chg="del">
          <ac:chgData name="Rogers, Amanda (OST)" userId="S::amanda.rogers@ad.dot.gov::75b2722b-6ec1-4bf8-8a17-c8c89c83c278" providerId="AD" clId="Web-{FD975BBA-D043-0B8E-E38D-732BE8CC92EC}" dt="2023-10-04T18:45:33.046" v="385"/>
          <ac:spMkLst>
            <pc:docMk/>
            <pc:sldMk cId="4071938262" sldId="330"/>
            <ac:spMk id="2" creationId="{843C7D64-E0A4-EF5B-405A-DF47868E146D}"/>
          </ac:spMkLst>
        </pc:spChg>
        <pc:spChg chg="add mod">
          <ac:chgData name="Rogers, Amanda (OST)" userId="S::amanda.rogers@ad.dot.gov::75b2722b-6ec1-4bf8-8a17-c8c89c83c278" providerId="AD" clId="Web-{FD975BBA-D043-0B8E-E38D-732BE8CC92EC}" dt="2023-10-04T18:45:54.656" v="408" actId="20577"/>
          <ac:spMkLst>
            <pc:docMk/>
            <pc:sldMk cId="4071938262" sldId="330"/>
            <ac:spMk id="4" creationId="{165C8195-3CEF-C94F-A66D-F8D603A0047F}"/>
          </ac:spMkLst>
        </pc:spChg>
        <pc:spChg chg="add mod">
          <ac:chgData name="Rogers, Amanda (OST)" userId="S::amanda.rogers@ad.dot.gov::75b2722b-6ec1-4bf8-8a17-c8c89c83c278" providerId="AD" clId="Web-{FD975BBA-D043-0B8E-E38D-732BE8CC92EC}" dt="2023-10-04T18:46:21.360" v="416" actId="20577"/>
          <ac:spMkLst>
            <pc:docMk/>
            <pc:sldMk cId="4071938262" sldId="330"/>
            <ac:spMk id="5" creationId="{42862860-92AB-437A-5927-1B51C9FC0D84}"/>
          </ac:spMkLst>
        </pc:spChg>
        <pc:spChg chg="add del mod">
          <ac:chgData name="Rogers, Amanda (OST)" userId="S::amanda.rogers@ad.dot.gov::75b2722b-6ec1-4bf8-8a17-c8c89c83c278" providerId="AD" clId="Web-{FD975BBA-D043-0B8E-E38D-732BE8CC92EC}" dt="2023-10-04T18:47:18.204" v="425"/>
          <ac:spMkLst>
            <pc:docMk/>
            <pc:sldMk cId="4071938262" sldId="330"/>
            <ac:spMk id="7" creationId="{778BD425-8457-8945-FF5B-EA4AFEBA6C5C}"/>
          </ac:spMkLst>
        </pc:spChg>
        <pc:spChg chg="add mod">
          <ac:chgData name="Rogers, Amanda (OST)" userId="S::amanda.rogers@ad.dot.gov::75b2722b-6ec1-4bf8-8a17-c8c89c83c278" providerId="AD" clId="Web-{FD975BBA-D043-0B8E-E38D-732BE8CC92EC}" dt="2023-10-04T18:47:24.439" v="427" actId="1076"/>
          <ac:spMkLst>
            <pc:docMk/>
            <pc:sldMk cId="4071938262" sldId="330"/>
            <ac:spMk id="19" creationId="{046248EC-ED03-989D-A17C-2C7C76E87DD8}"/>
          </ac:spMkLst>
        </pc:spChg>
        <pc:grpChg chg="add mod">
          <ac:chgData name="Rogers, Amanda (OST)" userId="S::amanda.rogers@ad.dot.gov::75b2722b-6ec1-4bf8-8a17-c8c89c83c278" providerId="AD" clId="Web-{FD975BBA-D043-0B8E-E38D-732BE8CC92EC}" dt="2023-10-04T18:47:27.954" v="428" actId="1076"/>
          <ac:grpSpMkLst>
            <pc:docMk/>
            <pc:sldMk cId="4071938262" sldId="330"/>
            <ac:grpSpMk id="13" creationId="{F097381C-D0DD-827F-D3ED-F4823A52755C}"/>
          </ac:grpSpMkLst>
        </pc:grpChg>
        <pc:picChg chg="add mod">
          <ac:chgData name="Rogers, Amanda (OST)" userId="S::amanda.rogers@ad.dot.gov::75b2722b-6ec1-4bf8-8a17-c8c89c83c278" providerId="AD" clId="Web-{FD975BBA-D043-0B8E-E38D-732BE8CC92EC}" dt="2023-10-04T18:47:43.439" v="431" actId="1076"/>
          <ac:picMkLst>
            <pc:docMk/>
            <pc:sldMk cId="4071938262" sldId="330"/>
            <ac:picMk id="15" creationId="{EBA88A94-9EA1-00D5-A2EC-E3C233E2C9E0}"/>
          </ac:picMkLst>
        </pc:picChg>
        <pc:picChg chg="add mod">
          <ac:chgData name="Rogers, Amanda (OST)" userId="S::amanda.rogers@ad.dot.gov::75b2722b-6ec1-4bf8-8a17-c8c89c83c278" providerId="AD" clId="Web-{FD975BBA-D043-0B8E-E38D-732BE8CC92EC}" dt="2023-10-04T18:47:41.158" v="430" actId="14100"/>
          <ac:picMkLst>
            <pc:docMk/>
            <pc:sldMk cId="4071938262" sldId="330"/>
            <ac:picMk id="17" creationId="{5DCA06CF-ADD8-B11F-9C39-64DB68B88C11}"/>
          </ac:picMkLst>
        </pc:picChg>
      </pc:sldChg>
      <pc:sldChg chg="addSp new modNotes">
        <pc:chgData name="Rogers, Amanda (OST)" userId="S::amanda.rogers@ad.dot.gov::75b2722b-6ec1-4bf8-8a17-c8c89c83c278" providerId="AD" clId="Web-{FD975BBA-D043-0B8E-E38D-732BE8CC92EC}" dt="2023-10-04T18:45:21.531" v="382"/>
        <pc:sldMkLst>
          <pc:docMk/>
          <pc:sldMk cId="2044158494" sldId="331"/>
        </pc:sldMkLst>
        <pc:spChg chg="add">
          <ac:chgData name="Rogers, Amanda (OST)" userId="S::amanda.rogers@ad.dot.gov::75b2722b-6ec1-4bf8-8a17-c8c89c83c278" providerId="AD" clId="Web-{FD975BBA-D043-0B8E-E38D-732BE8CC92EC}" dt="2023-10-04T18:42:07.372" v="313"/>
          <ac:spMkLst>
            <pc:docMk/>
            <pc:sldMk cId="2044158494" sldId="331"/>
            <ac:spMk id="4" creationId="{CE9FFC6C-A3A7-FFA0-F820-309502555E47}"/>
          </ac:spMkLst>
        </pc:spChg>
      </pc:sldChg>
      <pc:sldChg chg="addSp delSp modSp new modNotes">
        <pc:chgData name="Rogers, Amanda (OST)" userId="S::amanda.rogers@ad.dot.gov::75b2722b-6ec1-4bf8-8a17-c8c89c83c278" providerId="AD" clId="Web-{FD975BBA-D043-0B8E-E38D-732BE8CC92EC}" dt="2023-10-04T18:45:08.859" v="380" actId="1076"/>
        <pc:sldMkLst>
          <pc:docMk/>
          <pc:sldMk cId="4131897173" sldId="332"/>
        </pc:sldMkLst>
        <pc:spChg chg="del">
          <ac:chgData name="Rogers, Amanda (OST)" userId="S::amanda.rogers@ad.dot.gov::75b2722b-6ec1-4bf8-8a17-c8c89c83c278" providerId="AD" clId="Web-{FD975BBA-D043-0B8E-E38D-732BE8CC92EC}" dt="2023-10-04T18:43:07.076" v="351"/>
          <ac:spMkLst>
            <pc:docMk/>
            <pc:sldMk cId="4131897173" sldId="332"/>
            <ac:spMk id="2" creationId="{6957660E-BEB0-75FC-9507-1D0C0DCACE2A}"/>
          </ac:spMkLst>
        </pc:spChg>
        <pc:spChg chg="add mod">
          <ac:chgData name="Rogers, Amanda (OST)" userId="S::amanda.rogers@ad.dot.gov::75b2722b-6ec1-4bf8-8a17-c8c89c83c278" providerId="AD" clId="Web-{FD975BBA-D043-0B8E-E38D-732BE8CC92EC}" dt="2023-10-04T18:42:44.185" v="350" actId="14100"/>
          <ac:spMkLst>
            <pc:docMk/>
            <pc:sldMk cId="4131897173" sldId="332"/>
            <ac:spMk id="4" creationId="{6C8F4E03-E658-A309-45FE-90FDD94F3D00}"/>
          </ac:spMkLst>
        </pc:spChg>
        <pc:spChg chg="add mod">
          <ac:chgData name="Rogers, Amanda (OST)" userId="S::amanda.rogers@ad.dot.gov::75b2722b-6ec1-4bf8-8a17-c8c89c83c278" providerId="AD" clId="Web-{FD975BBA-D043-0B8E-E38D-732BE8CC92EC}" dt="2023-10-04T18:43:26.576" v="359" actId="20577"/>
          <ac:spMkLst>
            <pc:docMk/>
            <pc:sldMk cId="4131897173" sldId="332"/>
            <ac:spMk id="5" creationId="{6BC22457-FCB2-4835-5A7E-37C57C48FD0A}"/>
          </ac:spMkLst>
        </pc:spChg>
        <pc:spChg chg="add mod">
          <ac:chgData name="Rogers, Amanda (OST)" userId="S::amanda.rogers@ad.dot.gov::75b2722b-6ec1-4bf8-8a17-c8c89c83c278" providerId="AD" clId="Web-{FD975BBA-D043-0B8E-E38D-732BE8CC92EC}" dt="2023-10-04T18:44:22.624" v="372" actId="1076"/>
          <ac:spMkLst>
            <pc:docMk/>
            <pc:sldMk cId="4131897173" sldId="332"/>
            <ac:spMk id="7" creationId="{E2C2B2AD-231D-F9A9-4BF3-1D58B31E2E80}"/>
          </ac:spMkLst>
        </pc:spChg>
        <pc:spChg chg="mod">
          <ac:chgData name="Rogers, Amanda (OST)" userId="S::amanda.rogers@ad.dot.gov::75b2722b-6ec1-4bf8-8a17-c8c89c83c278" providerId="AD" clId="Web-{FD975BBA-D043-0B8E-E38D-732BE8CC92EC}" dt="2023-10-04T18:45:08.859" v="380" actId="1076"/>
          <ac:spMkLst>
            <pc:docMk/>
            <pc:sldMk cId="4131897173" sldId="332"/>
            <ac:spMk id="14" creationId="{972FE299-7702-5B76-D585-53C5A251F434}"/>
          </ac:spMkLst>
        </pc:spChg>
        <pc:grpChg chg="add mod">
          <ac:chgData name="Rogers, Amanda (OST)" userId="S::amanda.rogers@ad.dot.gov::75b2722b-6ec1-4bf8-8a17-c8c89c83c278" providerId="AD" clId="Web-{FD975BBA-D043-0B8E-E38D-732BE8CC92EC}" dt="2023-10-04T18:44:30.717" v="374" actId="1076"/>
          <ac:grpSpMkLst>
            <pc:docMk/>
            <pc:sldMk cId="4131897173" sldId="332"/>
            <ac:grpSpMk id="15" creationId="{FBEAB318-AEE3-162A-B094-01FBC8E7ABBF}"/>
          </ac:grpSpMkLst>
        </pc:grpChg>
        <pc:picChg chg="add mod">
          <ac:chgData name="Rogers, Amanda (OST)" userId="S::amanda.rogers@ad.dot.gov::75b2722b-6ec1-4bf8-8a17-c8c89c83c278" providerId="AD" clId="Web-{FD975BBA-D043-0B8E-E38D-732BE8CC92EC}" dt="2023-10-04T18:44:19.592" v="371" actId="1076"/>
          <ac:picMkLst>
            <pc:docMk/>
            <pc:sldMk cId="4131897173" sldId="332"/>
            <ac:picMk id="9" creationId="{973687FE-6293-54CA-146A-2A0BFD4A383E}"/>
          </ac:picMkLst>
        </pc:picChg>
      </pc:sldChg>
      <pc:sldMasterChg chg="modSldLayout">
        <pc:chgData name="Rogers, Amanda (OST)" userId="S::amanda.rogers@ad.dot.gov::75b2722b-6ec1-4bf8-8a17-c8c89c83c278" providerId="AD" clId="Web-{FD975BBA-D043-0B8E-E38D-732BE8CC92EC}" dt="2023-10-04T14:56:01.852" v="32"/>
        <pc:sldMasterMkLst>
          <pc:docMk/>
          <pc:sldMasterMk cId="2122263373" sldId="2147483660"/>
        </pc:sldMasterMkLst>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1959190852" sldId="2147483953"/>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3678081010" sldId="2147483954"/>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4099820930" sldId="2147483955"/>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1222491713" sldId="2147483956"/>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1698704672" sldId="2147483957"/>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346471713" sldId="2147483958"/>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1057643007" sldId="2147483959"/>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4171789256" sldId="2147483960"/>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3498354641" sldId="2147483961"/>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3785472159" sldId="2147483962"/>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2659534514" sldId="2147483963"/>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2872237704" sldId="2147483964"/>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2654173061" sldId="2147483965"/>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3006413301" sldId="2147483966"/>
          </pc:sldLayoutMkLst>
        </pc:sldLayoutChg>
        <pc:sldLayoutChg chg="replId">
          <pc:chgData name="Rogers, Amanda (OST)" userId="S::amanda.rogers@ad.dot.gov::75b2722b-6ec1-4bf8-8a17-c8c89c83c278" providerId="AD" clId="Web-{FD975BBA-D043-0B8E-E38D-732BE8CC92EC}" dt="2023-10-04T14:56:01.852" v="32"/>
          <pc:sldLayoutMkLst>
            <pc:docMk/>
            <pc:sldMasterMk cId="2122263373" sldId="2147483660"/>
            <pc:sldLayoutMk cId="2689169607" sldId="2147483967"/>
          </pc:sldLayoutMkLst>
        </pc:sldLayoutChg>
      </pc:sldMasterChg>
      <pc:sldMasterChg chg="add addSldLayout">
        <pc:chgData name="Rogers, Amanda (OST)" userId="S::amanda.rogers@ad.dot.gov::75b2722b-6ec1-4bf8-8a17-c8c89c83c278" providerId="AD" clId="Web-{FD975BBA-D043-0B8E-E38D-732BE8CC92EC}" dt="2023-10-04T14:56:01.852" v="32"/>
        <pc:sldMasterMkLst>
          <pc:docMk/>
          <pc:sldMasterMk cId="275518042" sldId="2147483681"/>
        </pc:sldMasterMkLst>
        <pc:sldLayoutChg chg="add">
          <pc:chgData name="Rogers, Amanda (OST)" userId="S::amanda.rogers@ad.dot.gov::75b2722b-6ec1-4bf8-8a17-c8c89c83c278" providerId="AD" clId="Web-{FD975BBA-D043-0B8E-E38D-732BE8CC92EC}" dt="2023-10-04T14:56:01.852" v="32"/>
          <pc:sldLayoutMkLst>
            <pc:docMk/>
            <pc:sldMasterMk cId="275518042" sldId="2147483681"/>
            <pc:sldLayoutMk cId="3053408597" sldId="2147483655"/>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476476601" sldId="2147483682"/>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1356034632" sldId="2147483683"/>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2417532022" sldId="2147483684"/>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1459130177" sldId="2147483685"/>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3503572786" sldId="2147483686"/>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2183758465" sldId="2147483687"/>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2409501788" sldId="2147483688"/>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148100691" sldId="2147483689"/>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337460581" sldId="2147483690"/>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1461825143" sldId="2147483691"/>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1267098319" sldId="2147483692"/>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833986859" sldId="2147483693"/>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798188623" sldId="2147483694"/>
          </pc:sldLayoutMkLst>
        </pc:sldLayoutChg>
        <pc:sldLayoutChg chg="add">
          <pc:chgData name="Rogers, Amanda (OST)" userId="S::amanda.rogers@ad.dot.gov::75b2722b-6ec1-4bf8-8a17-c8c89c83c278" providerId="AD" clId="Web-{FD975BBA-D043-0B8E-E38D-732BE8CC92EC}" dt="2023-10-04T14:56:01.852" v="32"/>
          <pc:sldLayoutMkLst>
            <pc:docMk/>
            <pc:sldMasterMk cId="275518042" sldId="2147483681"/>
            <pc:sldLayoutMk cId="3101308505" sldId="2147483695"/>
          </pc:sldLayoutMkLst>
        </pc:sldLayoutChg>
      </pc:sldMasterChg>
      <pc:sldMasterChg chg="addSldLayout">
        <pc:chgData name="Rogers, Amanda (OST)" userId="S::amanda.rogers@ad.dot.gov::75b2722b-6ec1-4bf8-8a17-c8c89c83c278" providerId="AD" clId="Web-{FD975BBA-D043-0B8E-E38D-732BE8CC92EC}" dt="2023-10-04T15:03:12.566" v="49"/>
        <pc:sldMasterMkLst>
          <pc:docMk/>
          <pc:sldMasterMk cId="946163275" sldId="2147483756"/>
        </pc:sldMasterMkLst>
        <pc:sldLayoutChg chg="add">
          <pc:chgData name="Rogers, Amanda (OST)" userId="S::amanda.rogers@ad.dot.gov::75b2722b-6ec1-4bf8-8a17-c8c89c83c278" providerId="AD" clId="Web-{FD975BBA-D043-0B8E-E38D-732BE8CC92EC}" dt="2023-10-04T15:03:12.566" v="49"/>
          <pc:sldLayoutMkLst>
            <pc:docMk/>
            <pc:sldMasterMk cId="946163275" sldId="2147483756"/>
            <pc:sldLayoutMk cId="3483277984" sldId="2147484062"/>
          </pc:sldLayoutMkLst>
        </pc:sldLayoutChg>
        <pc:sldLayoutChg chg="add">
          <pc:chgData name="Rogers, Amanda (OST)" userId="S::amanda.rogers@ad.dot.gov::75b2722b-6ec1-4bf8-8a17-c8c89c83c278" providerId="AD" clId="Web-{FD975BBA-D043-0B8E-E38D-732BE8CC92EC}" dt="2023-10-04T15:03:12.566" v="49"/>
          <pc:sldLayoutMkLst>
            <pc:docMk/>
            <pc:sldMasterMk cId="946163275" sldId="2147483756"/>
            <pc:sldLayoutMk cId="4175314331" sldId="2147484082"/>
          </pc:sldLayoutMkLst>
        </pc:sldLayoutChg>
        <pc:sldLayoutChg chg="add">
          <pc:chgData name="Rogers, Amanda (OST)" userId="S::amanda.rogers@ad.dot.gov::75b2722b-6ec1-4bf8-8a17-c8c89c83c278" providerId="AD" clId="Web-{FD975BBA-D043-0B8E-E38D-732BE8CC92EC}" dt="2023-10-04T15:03:12.566" v="49"/>
          <pc:sldLayoutMkLst>
            <pc:docMk/>
            <pc:sldMasterMk cId="946163275" sldId="2147483756"/>
            <pc:sldLayoutMk cId="656442242" sldId="2147484083"/>
          </pc:sldLayoutMkLst>
        </pc:sldLayoutChg>
      </pc:sldMasterChg>
      <pc:sldMasterChg chg="addSldLayout">
        <pc:chgData name="Rogers, Amanda (OST)" userId="S::amanda.rogers@ad.dot.gov::75b2722b-6ec1-4bf8-8a17-c8c89c83c278" providerId="AD" clId="Web-{FD975BBA-D043-0B8E-E38D-732BE8CC92EC}" dt="2023-10-04T15:02:57.769" v="48"/>
        <pc:sldMasterMkLst>
          <pc:docMk/>
          <pc:sldMasterMk cId="3411620979" sldId="2147483913"/>
        </pc:sldMasterMkLst>
        <pc:sldLayoutChg chg="add">
          <pc:chgData name="Rogers, Amanda (OST)" userId="S::amanda.rogers@ad.dot.gov::75b2722b-6ec1-4bf8-8a17-c8c89c83c278" providerId="AD" clId="Web-{FD975BBA-D043-0B8E-E38D-732BE8CC92EC}" dt="2023-10-04T15:02:57.769" v="48"/>
          <pc:sldLayoutMkLst>
            <pc:docMk/>
            <pc:sldMasterMk cId="3411620979" sldId="2147483913"/>
            <pc:sldLayoutMk cId="1173242047" sldId="2147484056"/>
          </pc:sldLayoutMkLst>
        </pc:sldLayoutChg>
        <pc:sldLayoutChg chg="add">
          <pc:chgData name="Rogers, Amanda (OST)" userId="S::amanda.rogers@ad.dot.gov::75b2722b-6ec1-4bf8-8a17-c8c89c83c278" providerId="AD" clId="Web-{FD975BBA-D043-0B8E-E38D-732BE8CC92EC}" dt="2023-10-04T15:02:57.769" v="48"/>
          <pc:sldLayoutMkLst>
            <pc:docMk/>
            <pc:sldMasterMk cId="3411620979" sldId="2147483913"/>
            <pc:sldLayoutMk cId="1372707694" sldId="2147484057"/>
          </pc:sldLayoutMkLst>
        </pc:sldLayoutChg>
      </pc:sldMasterChg>
      <pc:sldMasterChg chg="add addSldLayout">
        <pc:chgData name="Rogers, Amanda (OST)" userId="S::amanda.rogers@ad.dot.gov::75b2722b-6ec1-4bf8-8a17-c8c89c83c278" providerId="AD" clId="Web-{FD975BBA-D043-0B8E-E38D-732BE8CC92EC}" dt="2023-10-04T15:03:57.895" v="52"/>
        <pc:sldMasterMkLst>
          <pc:docMk/>
          <pc:sldMasterMk cId="2652110085" sldId="2147484096"/>
        </pc:sldMasterMkLst>
        <pc:sldLayoutChg chg="add">
          <pc:chgData name="Rogers, Amanda (OST)" userId="S::amanda.rogers@ad.dot.gov::75b2722b-6ec1-4bf8-8a17-c8c89c83c278" providerId="AD" clId="Web-{FD975BBA-D043-0B8E-E38D-732BE8CC92EC}" dt="2023-10-04T15:03:57.895" v="52"/>
          <pc:sldLayoutMkLst>
            <pc:docMk/>
            <pc:sldMasterMk cId="2652110085" sldId="2147484096"/>
            <pc:sldLayoutMk cId="4019316054" sldId="2147484097"/>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923179897" sldId="2147484098"/>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031173416" sldId="2147484099"/>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033548740" sldId="2147484100"/>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493002988" sldId="2147484101"/>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78037051" sldId="2147484102"/>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4246926125" sldId="2147484103"/>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951451913" sldId="2147484104"/>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792598281" sldId="2147484105"/>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469569573" sldId="2147484106"/>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981866816" sldId="2147484107"/>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436649956" sldId="2147484108"/>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619112816" sldId="2147484109"/>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817697257" sldId="2147484110"/>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615390908" sldId="2147484111"/>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089201778" sldId="2147484112"/>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704852989" sldId="2147484113"/>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467968595" sldId="2147484114"/>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485858583" sldId="2147484115"/>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326944895" sldId="2147484116"/>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993601563" sldId="2147484117"/>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449844430" sldId="2147484118"/>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705932863" sldId="2147484119"/>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412212446" sldId="2147484120"/>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4040867679" sldId="2147484121"/>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633736541" sldId="2147484122"/>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188017497" sldId="2147484123"/>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544292609" sldId="2147484124"/>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137769310" sldId="2147484125"/>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447495640" sldId="2147484126"/>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617577018" sldId="2147484127"/>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661256692" sldId="2147484128"/>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308602075" sldId="2147484129"/>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133703878" sldId="2147484130"/>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49772260" sldId="2147484131"/>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4107710626" sldId="2147484132"/>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73626622" sldId="2147484133"/>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382831354" sldId="2147484134"/>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45853295" sldId="2147484135"/>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152985312" sldId="2147484136"/>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037400036" sldId="2147484137"/>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536244004" sldId="2147484138"/>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3294351283" sldId="2147484139"/>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145030761" sldId="2147484140"/>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109271382" sldId="2147484141"/>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2240028158" sldId="2147484142"/>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905483833" sldId="2147484143"/>
          </pc:sldLayoutMkLst>
        </pc:sldLayoutChg>
        <pc:sldLayoutChg chg="add">
          <pc:chgData name="Rogers, Amanda (OST)" userId="S::amanda.rogers@ad.dot.gov::75b2722b-6ec1-4bf8-8a17-c8c89c83c278" providerId="AD" clId="Web-{FD975BBA-D043-0B8E-E38D-732BE8CC92EC}" dt="2023-10-04T15:03:57.895" v="52"/>
          <pc:sldLayoutMkLst>
            <pc:docMk/>
            <pc:sldMasterMk cId="2652110085" sldId="2147484096"/>
            <pc:sldLayoutMk cId="4013158586" sldId="2147484144"/>
          </pc:sldLayoutMkLst>
        </pc:sldLayoutChg>
      </pc:sldMasterChg>
    </pc:docChg>
  </pc:docChgLst>
  <pc:docChgLst>
    <pc:chgData name="Rogers, Amanda (OST)" userId="S::amanda.rogers@ad.dot.gov::75b2722b-6ec1-4bf8-8a17-c8c89c83c278" providerId="AD" clId="Web-{1478C0E8-2E2B-1939-3732-4B10173A9173}"/>
    <pc:docChg chg="addSld delSld modSld sldOrd">
      <pc:chgData name="Rogers, Amanda (OST)" userId="S::amanda.rogers@ad.dot.gov::75b2722b-6ec1-4bf8-8a17-c8c89c83c278" providerId="AD" clId="Web-{1478C0E8-2E2B-1939-3732-4B10173A9173}" dt="2023-10-05T20:11:55.067" v="288"/>
      <pc:docMkLst>
        <pc:docMk/>
      </pc:docMkLst>
      <pc:sldChg chg="addSp modSp">
        <pc:chgData name="Rogers, Amanda (OST)" userId="S::amanda.rogers@ad.dot.gov::75b2722b-6ec1-4bf8-8a17-c8c89c83c278" providerId="AD" clId="Web-{1478C0E8-2E2B-1939-3732-4B10173A9173}" dt="2023-10-05T19:02:29.006" v="270" actId="1076"/>
        <pc:sldMkLst>
          <pc:docMk/>
          <pc:sldMk cId="487430412" sldId="265"/>
        </pc:sldMkLst>
        <pc:picChg chg="add mod">
          <ac:chgData name="Rogers, Amanda (OST)" userId="S::amanda.rogers@ad.dot.gov::75b2722b-6ec1-4bf8-8a17-c8c89c83c278" providerId="AD" clId="Web-{1478C0E8-2E2B-1939-3732-4B10173A9173}" dt="2023-10-05T19:02:29.006" v="270" actId="1076"/>
          <ac:picMkLst>
            <pc:docMk/>
            <pc:sldMk cId="487430412" sldId="265"/>
            <ac:picMk id="2" creationId="{6CBB7217-13D0-E1D1-C2E3-661068201E84}"/>
          </ac:picMkLst>
        </pc:picChg>
      </pc:sldChg>
      <pc:sldChg chg="ord">
        <pc:chgData name="Rogers, Amanda (OST)" userId="S::amanda.rogers@ad.dot.gov::75b2722b-6ec1-4bf8-8a17-c8c89c83c278" providerId="AD" clId="Web-{1478C0E8-2E2B-1939-3732-4B10173A9173}" dt="2023-10-05T18:37:49.458" v="231"/>
        <pc:sldMkLst>
          <pc:docMk/>
          <pc:sldMk cId="3150764723" sldId="267"/>
        </pc:sldMkLst>
      </pc:sldChg>
      <pc:sldChg chg="delSp">
        <pc:chgData name="Rogers, Amanda (OST)" userId="S::amanda.rogers@ad.dot.gov::75b2722b-6ec1-4bf8-8a17-c8c89c83c278" providerId="AD" clId="Web-{1478C0E8-2E2B-1939-3732-4B10173A9173}" dt="2023-10-05T20:11:55.067" v="288"/>
        <pc:sldMkLst>
          <pc:docMk/>
          <pc:sldMk cId="2832665021" sldId="269"/>
        </pc:sldMkLst>
        <pc:picChg chg="del">
          <ac:chgData name="Rogers, Amanda (OST)" userId="S::amanda.rogers@ad.dot.gov::75b2722b-6ec1-4bf8-8a17-c8c89c83c278" providerId="AD" clId="Web-{1478C0E8-2E2B-1939-3732-4B10173A9173}" dt="2023-10-05T20:11:55.067" v="288"/>
          <ac:picMkLst>
            <pc:docMk/>
            <pc:sldMk cId="2832665021" sldId="269"/>
            <ac:picMk id="7" creationId="{E4A0107E-6A3A-7D61-DBD9-6B1993D07F91}"/>
          </ac:picMkLst>
        </pc:picChg>
      </pc:sldChg>
      <pc:sldChg chg="modSp">
        <pc:chgData name="Rogers, Amanda (OST)" userId="S::amanda.rogers@ad.dot.gov::75b2722b-6ec1-4bf8-8a17-c8c89c83c278" providerId="AD" clId="Web-{1478C0E8-2E2B-1939-3732-4B10173A9173}" dt="2023-10-05T19:12:58.379" v="285" actId="20577"/>
        <pc:sldMkLst>
          <pc:docMk/>
          <pc:sldMk cId="2292302954" sldId="272"/>
        </pc:sldMkLst>
        <pc:spChg chg="mod">
          <ac:chgData name="Rogers, Amanda (OST)" userId="S::amanda.rogers@ad.dot.gov::75b2722b-6ec1-4bf8-8a17-c8c89c83c278" providerId="AD" clId="Web-{1478C0E8-2E2B-1939-3732-4B10173A9173}" dt="2023-10-05T19:12:58.379" v="285" actId="20577"/>
          <ac:spMkLst>
            <pc:docMk/>
            <pc:sldMk cId="2292302954" sldId="272"/>
            <ac:spMk id="6" creationId="{62AFF1E4-CF5F-4C98-ACB4-A827F7E48960}"/>
          </ac:spMkLst>
        </pc:spChg>
      </pc:sldChg>
      <pc:sldChg chg="mod modShow">
        <pc:chgData name="Rogers, Amanda (OST)" userId="S::amanda.rogers@ad.dot.gov::75b2722b-6ec1-4bf8-8a17-c8c89c83c278" providerId="AD" clId="Web-{1478C0E8-2E2B-1939-3732-4B10173A9173}" dt="2023-10-05T18:24:59.598" v="38"/>
        <pc:sldMkLst>
          <pc:docMk/>
          <pc:sldMk cId="3800569280" sldId="279"/>
        </pc:sldMkLst>
      </pc:sldChg>
      <pc:sldChg chg="mod modShow">
        <pc:chgData name="Rogers, Amanda (OST)" userId="S::amanda.rogers@ad.dot.gov::75b2722b-6ec1-4bf8-8a17-c8c89c83c278" providerId="AD" clId="Web-{1478C0E8-2E2B-1939-3732-4B10173A9173}" dt="2023-10-05T18:27:10.757" v="49"/>
        <pc:sldMkLst>
          <pc:docMk/>
          <pc:sldMk cId="1081031505" sldId="281"/>
        </pc:sldMkLst>
      </pc:sldChg>
      <pc:sldChg chg="del">
        <pc:chgData name="Rogers, Amanda (OST)" userId="S::amanda.rogers@ad.dot.gov::75b2722b-6ec1-4bf8-8a17-c8c89c83c278" providerId="AD" clId="Web-{1478C0E8-2E2B-1939-3732-4B10173A9173}" dt="2023-10-05T18:26:07.880" v="39"/>
        <pc:sldMkLst>
          <pc:docMk/>
          <pc:sldMk cId="4211693385" sldId="282"/>
        </pc:sldMkLst>
      </pc:sldChg>
      <pc:sldChg chg="mod modShow">
        <pc:chgData name="Rogers, Amanda (OST)" userId="S::amanda.rogers@ad.dot.gov::75b2722b-6ec1-4bf8-8a17-c8c89c83c278" providerId="AD" clId="Web-{1478C0E8-2E2B-1939-3732-4B10173A9173}" dt="2023-10-05T18:26:51.959" v="46"/>
        <pc:sldMkLst>
          <pc:docMk/>
          <pc:sldMk cId="4095912999" sldId="283"/>
        </pc:sldMkLst>
      </pc:sldChg>
      <pc:sldChg chg="mod modShow">
        <pc:chgData name="Rogers, Amanda (OST)" userId="S::amanda.rogers@ad.dot.gov::75b2722b-6ec1-4bf8-8a17-c8c89c83c278" providerId="AD" clId="Web-{1478C0E8-2E2B-1939-3732-4B10173A9173}" dt="2023-10-05T18:24:29.347" v="36"/>
        <pc:sldMkLst>
          <pc:docMk/>
          <pc:sldMk cId="1181896907" sldId="291"/>
        </pc:sldMkLst>
      </pc:sldChg>
      <pc:sldChg chg="del mod ord modShow">
        <pc:chgData name="Rogers, Amanda (OST)" userId="S::amanda.rogers@ad.dot.gov::75b2722b-6ec1-4bf8-8a17-c8c89c83c278" providerId="AD" clId="Web-{1478C0E8-2E2B-1939-3732-4B10173A9173}" dt="2023-10-05T18:38:00.724" v="233"/>
        <pc:sldMkLst>
          <pc:docMk/>
          <pc:sldMk cId="3412389389" sldId="293"/>
        </pc:sldMkLst>
      </pc:sldChg>
      <pc:sldChg chg="addSp delSp modSp">
        <pc:chgData name="Rogers, Amanda (OST)" userId="S::amanda.rogers@ad.dot.gov::75b2722b-6ec1-4bf8-8a17-c8c89c83c278" providerId="AD" clId="Web-{1478C0E8-2E2B-1939-3732-4B10173A9173}" dt="2023-10-05T18:28:53.103" v="69" actId="14100"/>
        <pc:sldMkLst>
          <pc:docMk/>
          <pc:sldMk cId="896280952" sldId="298"/>
        </pc:sldMkLst>
        <pc:picChg chg="mod">
          <ac:chgData name="Rogers, Amanda (OST)" userId="S::amanda.rogers@ad.dot.gov::75b2722b-6ec1-4bf8-8a17-c8c89c83c278" providerId="AD" clId="Web-{1478C0E8-2E2B-1939-3732-4B10173A9173}" dt="2023-10-05T18:28:14.117" v="60" actId="1076"/>
          <ac:picMkLst>
            <pc:docMk/>
            <pc:sldMk cId="896280952" sldId="298"/>
            <ac:picMk id="3" creationId="{98D07A7D-BE4F-305A-0438-C972D48F1E45}"/>
          </ac:picMkLst>
        </pc:picChg>
        <pc:picChg chg="add mod">
          <ac:chgData name="Rogers, Amanda (OST)" userId="S::amanda.rogers@ad.dot.gov::75b2722b-6ec1-4bf8-8a17-c8c89c83c278" providerId="AD" clId="Web-{1478C0E8-2E2B-1939-3732-4B10173A9173}" dt="2023-10-05T18:28:34.555" v="65" actId="1076"/>
          <ac:picMkLst>
            <pc:docMk/>
            <pc:sldMk cId="896280952" sldId="298"/>
            <ac:picMk id="4" creationId="{2113FEE9-C2B2-BFE3-47F2-EDF8EBE186FA}"/>
          </ac:picMkLst>
        </pc:picChg>
        <pc:picChg chg="del">
          <ac:chgData name="Rogers, Amanda (OST)" userId="S::amanda.rogers@ad.dot.gov::75b2722b-6ec1-4bf8-8a17-c8c89c83c278" providerId="AD" clId="Web-{1478C0E8-2E2B-1939-3732-4B10173A9173}" dt="2023-10-05T18:27:48.086" v="53"/>
          <ac:picMkLst>
            <pc:docMk/>
            <pc:sldMk cId="896280952" sldId="298"/>
            <ac:picMk id="5" creationId="{DE0BB987-BC82-402D-A166-A8DB8AD32082}"/>
          </ac:picMkLst>
        </pc:picChg>
        <pc:picChg chg="add mod">
          <ac:chgData name="Rogers, Amanda (OST)" userId="S::amanda.rogers@ad.dot.gov::75b2722b-6ec1-4bf8-8a17-c8c89c83c278" providerId="AD" clId="Web-{1478C0E8-2E2B-1939-3732-4B10173A9173}" dt="2023-10-05T18:28:53.103" v="69" actId="14100"/>
          <ac:picMkLst>
            <pc:docMk/>
            <pc:sldMk cId="896280952" sldId="298"/>
            <ac:picMk id="7" creationId="{C8955970-C64A-9652-1FD0-2B5F4D07BD28}"/>
          </ac:picMkLst>
        </pc:picChg>
      </pc:sldChg>
      <pc:sldChg chg="addSp modSp">
        <pc:chgData name="Rogers, Amanda (OST)" userId="S::amanda.rogers@ad.dot.gov::75b2722b-6ec1-4bf8-8a17-c8c89c83c278" providerId="AD" clId="Web-{1478C0E8-2E2B-1939-3732-4B10173A9173}" dt="2023-10-05T18:41:24.932" v="260" actId="1076"/>
        <pc:sldMkLst>
          <pc:docMk/>
          <pc:sldMk cId="3708523262" sldId="299"/>
        </pc:sldMkLst>
        <pc:picChg chg="add mod">
          <ac:chgData name="Rogers, Amanda (OST)" userId="S::amanda.rogers@ad.dot.gov::75b2722b-6ec1-4bf8-8a17-c8c89c83c278" providerId="AD" clId="Web-{1478C0E8-2E2B-1939-3732-4B10173A9173}" dt="2023-10-05T18:41:24.932" v="260" actId="1076"/>
          <ac:picMkLst>
            <pc:docMk/>
            <pc:sldMk cId="3708523262" sldId="299"/>
            <ac:picMk id="2" creationId="{DACA536F-37FB-11EC-8C3E-49C78DAB8E67}"/>
          </ac:picMkLst>
        </pc:picChg>
      </pc:sldChg>
      <pc:sldChg chg="addSp modSp">
        <pc:chgData name="Rogers, Amanda (OST)" userId="S::amanda.rogers@ad.dot.gov::75b2722b-6ec1-4bf8-8a17-c8c89c83c278" providerId="AD" clId="Web-{1478C0E8-2E2B-1939-3732-4B10173A9173}" dt="2023-10-05T18:42:36.527" v="267" actId="14100"/>
        <pc:sldMkLst>
          <pc:docMk/>
          <pc:sldMk cId="1527219422" sldId="300"/>
        </pc:sldMkLst>
        <pc:picChg chg="add mod">
          <ac:chgData name="Rogers, Amanda (OST)" userId="S::amanda.rogers@ad.dot.gov::75b2722b-6ec1-4bf8-8a17-c8c89c83c278" providerId="AD" clId="Web-{1478C0E8-2E2B-1939-3732-4B10173A9173}" dt="2023-10-05T18:42:36.527" v="267" actId="14100"/>
          <ac:picMkLst>
            <pc:docMk/>
            <pc:sldMk cId="1527219422" sldId="300"/>
            <ac:picMk id="2" creationId="{5D2CB8B3-54AD-080F-D0E2-BE86D6913023}"/>
          </ac:picMkLst>
        </pc:picChg>
        <pc:picChg chg="mod">
          <ac:chgData name="Rogers, Amanda (OST)" userId="S::amanda.rogers@ad.dot.gov::75b2722b-6ec1-4bf8-8a17-c8c89c83c278" providerId="AD" clId="Web-{1478C0E8-2E2B-1939-3732-4B10173A9173}" dt="2023-10-05T18:42:29.464" v="264" actId="1076"/>
          <ac:picMkLst>
            <pc:docMk/>
            <pc:sldMk cId="1527219422" sldId="300"/>
            <ac:picMk id="14" creationId="{7EE42240-CDC5-4912-A1EA-E09B3A23AC0D}"/>
          </ac:picMkLst>
        </pc:picChg>
      </pc:sldChg>
      <pc:sldChg chg="ord">
        <pc:chgData name="Rogers, Amanda (OST)" userId="S::amanda.rogers@ad.dot.gov::75b2722b-6ec1-4bf8-8a17-c8c89c83c278" providerId="AD" clId="Web-{1478C0E8-2E2B-1939-3732-4B10173A9173}" dt="2023-10-05T19:18:20.558" v="287"/>
        <pc:sldMkLst>
          <pc:docMk/>
          <pc:sldMk cId="604989117" sldId="301"/>
        </pc:sldMkLst>
      </pc:sldChg>
      <pc:sldChg chg="mod modShow">
        <pc:chgData name="Rogers, Amanda (OST)" userId="S::amanda.rogers@ad.dot.gov::75b2722b-6ec1-4bf8-8a17-c8c89c83c278" providerId="AD" clId="Web-{1478C0E8-2E2B-1939-3732-4B10173A9173}" dt="2023-10-05T18:27:04.241" v="47"/>
        <pc:sldMkLst>
          <pc:docMk/>
          <pc:sldMk cId="1726362834" sldId="302"/>
        </pc:sldMkLst>
      </pc:sldChg>
      <pc:sldChg chg="mod modShow">
        <pc:chgData name="Rogers, Amanda (OST)" userId="S::amanda.rogers@ad.dot.gov::75b2722b-6ec1-4bf8-8a17-c8c89c83c278" providerId="AD" clId="Web-{1478C0E8-2E2B-1939-3732-4B10173A9173}" dt="2023-10-05T18:27:07.007" v="48"/>
        <pc:sldMkLst>
          <pc:docMk/>
          <pc:sldMk cId="3783120677" sldId="303"/>
        </pc:sldMkLst>
      </pc:sldChg>
      <pc:sldChg chg="del">
        <pc:chgData name="Rogers, Amanda (OST)" userId="S::amanda.rogers@ad.dot.gov::75b2722b-6ec1-4bf8-8a17-c8c89c83c278" providerId="AD" clId="Web-{1478C0E8-2E2B-1939-3732-4B10173A9173}" dt="2023-10-05T18:26:36.225" v="45"/>
        <pc:sldMkLst>
          <pc:docMk/>
          <pc:sldMk cId="4193536144" sldId="304"/>
        </pc:sldMkLst>
      </pc:sldChg>
      <pc:sldChg chg="modSp del">
        <pc:chgData name="Rogers, Amanda (OST)" userId="S::amanda.rogers@ad.dot.gov::75b2722b-6ec1-4bf8-8a17-c8c89c83c278" providerId="AD" clId="Web-{1478C0E8-2E2B-1939-3732-4B10173A9173}" dt="2023-10-05T18:24:16.690" v="35"/>
        <pc:sldMkLst>
          <pc:docMk/>
          <pc:sldMk cId="385378943" sldId="311"/>
        </pc:sldMkLst>
        <pc:spChg chg="mod">
          <ac:chgData name="Rogers, Amanda (OST)" userId="S::amanda.rogers@ad.dot.gov::75b2722b-6ec1-4bf8-8a17-c8c89c83c278" providerId="AD" clId="Web-{1478C0E8-2E2B-1939-3732-4B10173A9173}" dt="2023-10-05T18:22:39.454" v="15" actId="20577"/>
          <ac:spMkLst>
            <pc:docMk/>
            <pc:sldMk cId="385378943" sldId="311"/>
            <ac:spMk id="2" creationId="{CFC063CD-83DA-F0E8-6D36-DB72F4D92808}"/>
          </ac:spMkLst>
        </pc:spChg>
      </pc:sldChg>
      <pc:sldChg chg="mod modShow">
        <pc:chgData name="Rogers, Amanda (OST)" userId="S::amanda.rogers@ad.dot.gov::75b2722b-6ec1-4bf8-8a17-c8c89c83c278" providerId="AD" clId="Web-{1478C0E8-2E2B-1939-3732-4B10173A9173}" dt="2023-10-05T19:18:07.027" v="286"/>
        <pc:sldMkLst>
          <pc:docMk/>
          <pc:sldMk cId="1623564173" sldId="317"/>
        </pc:sldMkLst>
      </pc:sldChg>
      <pc:sldChg chg="modNotes">
        <pc:chgData name="Rogers, Amanda (OST)" userId="S::amanda.rogers@ad.dot.gov::75b2722b-6ec1-4bf8-8a17-c8c89c83c278" providerId="AD" clId="Web-{1478C0E8-2E2B-1939-3732-4B10173A9173}" dt="2023-10-05T18:26:33.912" v="44"/>
        <pc:sldMkLst>
          <pc:docMk/>
          <pc:sldMk cId="974119452" sldId="318"/>
        </pc:sldMkLst>
      </pc:sldChg>
      <pc:sldChg chg="del">
        <pc:chgData name="Rogers, Amanda (OST)" userId="S::amanda.rogers@ad.dot.gov::75b2722b-6ec1-4bf8-8a17-c8c89c83c278" providerId="AD" clId="Web-{1478C0E8-2E2B-1939-3732-4B10173A9173}" dt="2023-10-05T18:30:49.918" v="115"/>
        <pc:sldMkLst>
          <pc:docMk/>
          <pc:sldMk cId="4259975463" sldId="321"/>
        </pc:sldMkLst>
      </pc:sldChg>
      <pc:sldChg chg="del">
        <pc:chgData name="Rogers, Amanda (OST)" userId="S::amanda.rogers@ad.dot.gov::75b2722b-6ec1-4bf8-8a17-c8c89c83c278" providerId="AD" clId="Web-{1478C0E8-2E2B-1939-3732-4B10173A9173}" dt="2023-10-05T18:29:08.650" v="70"/>
        <pc:sldMkLst>
          <pc:docMk/>
          <pc:sldMk cId="1232594561" sldId="322"/>
        </pc:sldMkLst>
      </pc:sldChg>
      <pc:sldChg chg="del">
        <pc:chgData name="Rogers, Amanda (OST)" userId="S::amanda.rogers@ad.dot.gov::75b2722b-6ec1-4bf8-8a17-c8c89c83c278" providerId="AD" clId="Web-{1478C0E8-2E2B-1939-3732-4B10173A9173}" dt="2023-10-05T18:29:57.807" v="71"/>
        <pc:sldMkLst>
          <pc:docMk/>
          <pc:sldMk cId="3900069071" sldId="323"/>
        </pc:sldMkLst>
      </pc:sldChg>
      <pc:sldChg chg="modSp del delCm">
        <pc:chgData name="Rogers, Amanda (OST)" userId="S::amanda.rogers@ad.dot.gov::75b2722b-6ec1-4bf8-8a17-c8c89c83c278" providerId="AD" clId="Web-{1478C0E8-2E2B-1939-3732-4B10173A9173}" dt="2023-10-05T18:33:58.344" v="144"/>
        <pc:sldMkLst>
          <pc:docMk/>
          <pc:sldMk cId="1845634216" sldId="324"/>
        </pc:sldMkLst>
        <pc:spChg chg="mod">
          <ac:chgData name="Rogers, Amanda (OST)" userId="S::amanda.rogers@ad.dot.gov::75b2722b-6ec1-4bf8-8a17-c8c89c83c278" providerId="AD" clId="Web-{1478C0E8-2E2B-1939-3732-4B10173A9173}" dt="2023-10-05T18:32:12.263" v="118" actId="20577"/>
          <ac:spMkLst>
            <pc:docMk/>
            <pc:sldMk cId="1845634216" sldId="324"/>
            <ac:spMk id="2" creationId="{E3A64605-86A6-A39E-89CC-A58B278DFF2E}"/>
          </ac:spMkLst>
        </pc:spChg>
        <pc:spChg chg="mod">
          <ac:chgData name="Rogers, Amanda (OST)" userId="S::amanda.rogers@ad.dot.gov::75b2722b-6ec1-4bf8-8a17-c8c89c83c278" providerId="AD" clId="Web-{1478C0E8-2E2B-1939-3732-4B10173A9173}" dt="2023-10-05T18:32:57.546" v="134" actId="1076"/>
          <ac:spMkLst>
            <pc:docMk/>
            <pc:sldMk cId="1845634216" sldId="324"/>
            <ac:spMk id="5" creationId="{75ED1B4E-FFBD-305F-42B2-454649701FAC}"/>
          </ac:spMkLst>
        </pc:spChg>
        <pc:extLst>
          <p:ext xmlns:p="http://schemas.openxmlformats.org/presentationml/2006/main" uri="{D6D511B9-2390-475A-947B-AFAB55BFBCF1}">
            <pc226:cmChg xmlns:pc226="http://schemas.microsoft.com/office/powerpoint/2022/06/main/command" xmlns="" chg="del">
              <pc226:chgData name="Rogers, Amanda (OST)" userId="S::amanda.rogers@ad.dot.gov::75b2722b-6ec1-4bf8-8a17-c8c89c83c278" providerId="AD" clId="Web-{1478C0E8-2E2B-1939-3732-4B10173A9173}" dt="2023-10-05T18:30:55.480" v="116"/>
              <pc2:cmMkLst xmlns:pc2="http://schemas.microsoft.com/office/powerpoint/2019/9/main/command">
                <pc:docMk/>
                <pc:sldMk cId="1845634216" sldId="324"/>
                <pc2:cmMk id="{460F28DB-B99F-40CB-89DA-1A873B72ECDF}"/>
              </pc2:cmMkLst>
            </pc226:cmChg>
          </p:ext>
        </pc:extLst>
      </pc:sldChg>
      <pc:sldChg chg="del">
        <pc:chgData name="Rogers, Amanda (OST)" userId="S::amanda.rogers@ad.dot.gov::75b2722b-6ec1-4bf8-8a17-c8c89c83c278" providerId="AD" clId="Web-{1478C0E8-2E2B-1939-3732-4B10173A9173}" dt="2023-10-05T18:36:03.534" v="206"/>
        <pc:sldMkLst>
          <pc:docMk/>
          <pc:sldMk cId="1808776113" sldId="325"/>
        </pc:sldMkLst>
      </pc:sldChg>
      <pc:sldChg chg="modSp">
        <pc:chgData name="Rogers, Amanda (OST)" userId="S::amanda.rogers@ad.dot.gov::75b2722b-6ec1-4bf8-8a17-c8c89c83c278" providerId="AD" clId="Web-{1478C0E8-2E2B-1939-3732-4B10173A9173}" dt="2023-10-05T18:23:54.190" v="32" actId="1076"/>
        <pc:sldMkLst>
          <pc:docMk/>
          <pc:sldMk cId="4071938262" sldId="330"/>
        </pc:sldMkLst>
        <pc:spChg chg="mod">
          <ac:chgData name="Rogers, Amanda (OST)" userId="S::amanda.rogers@ad.dot.gov::75b2722b-6ec1-4bf8-8a17-c8c89c83c278" providerId="AD" clId="Web-{1478C0E8-2E2B-1939-3732-4B10173A9173}" dt="2023-10-05T18:23:54.190" v="32" actId="1076"/>
          <ac:spMkLst>
            <pc:docMk/>
            <pc:sldMk cId="4071938262" sldId="330"/>
            <ac:spMk id="5" creationId="{42862860-92AB-437A-5927-1B51C9FC0D84}"/>
          </ac:spMkLst>
        </pc:spChg>
      </pc:sldChg>
      <pc:sldChg chg="addSp delSp modSp add del">
        <pc:chgData name="Rogers, Amanda (OST)" userId="S::amanda.rogers@ad.dot.gov::75b2722b-6ec1-4bf8-8a17-c8c89c83c278" providerId="AD" clId="Web-{1478C0E8-2E2B-1939-3732-4B10173A9173}" dt="2023-10-05T18:24:12.065" v="34" actId="1076"/>
        <pc:sldMkLst>
          <pc:docMk/>
          <pc:sldMk cId="2044158494" sldId="331"/>
        </pc:sldMkLst>
        <pc:spChg chg="del">
          <ac:chgData name="Rogers, Amanda (OST)" userId="S::amanda.rogers@ad.dot.gov::75b2722b-6ec1-4bf8-8a17-c8c89c83c278" providerId="AD" clId="Web-{1478C0E8-2E2B-1939-3732-4B10173A9173}" dt="2023-10-05T18:22:32.766" v="13"/>
          <ac:spMkLst>
            <pc:docMk/>
            <pc:sldMk cId="2044158494" sldId="331"/>
            <ac:spMk id="2" creationId="{AE5F529F-D695-81A1-8C4E-3B9F3F22FE78}"/>
          </ac:spMkLst>
        </pc:spChg>
        <pc:spChg chg="mod">
          <ac:chgData name="Rogers, Amanda (OST)" userId="S::amanda.rogers@ad.dot.gov::75b2722b-6ec1-4bf8-8a17-c8c89c83c278" providerId="AD" clId="Web-{1478C0E8-2E2B-1939-3732-4B10173A9173}" dt="2023-10-05T18:22:27.376" v="12" actId="14100"/>
          <ac:spMkLst>
            <pc:docMk/>
            <pc:sldMk cId="2044158494" sldId="331"/>
            <ac:spMk id="4" creationId="{CE9FFC6C-A3A7-FFA0-F820-309502555E47}"/>
          </ac:spMkLst>
        </pc:spChg>
        <pc:spChg chg="add">
          <ac:chgData name="Rogers, Amanda (OST)" userId="S::amanda.rogers@ad.dot.gov::75b2722b-6ec1-4bf8-8a17-c8c89c83c278" providerId="AD" clId="Web-{1478C0E8-2E2B-1939-3732-4B10173A9173}" dt="2023-10-05T18:22:47.235" v="16"/>
          <ac:spMkLst>
            <pc:docMk/>
            <pc:sldMk cId="2044158494" sldId="331"/>
            <ac:spMk id="5" creationId="{6ACD0F04-F6DC-E7F1-B223-8C5AEA228407}"/>
          </ac:spMkLst>
        </pc:spChg>
        <pc:spChg chg="add mod">
          <ac:chgData name="Rogers, Amanda (OST)" userId="S::amanda.rogers@ad.dot.gov::75b2722b-6ec1-4bf8-8a17-c8c89c83c278" providerId="AD" clId="Web-{1478C0E8-2E2B-1939-3732-4B10173A9173}" dt="2023-10-05T18:24:12.065" v="34" actId="1076"/>
          <ac:spMkLst>
            <pc:docMk/>
            <pc:sldMk cId="2044158494" sldId="331"/>
            <ac:spMk id="16" creationId="{EE5D33DF-74E7-0DE0-9C00-87F8F0295B01}"/>
          </ac:spMkLst>
        </pc:spChg>
        <pc:grpChg chg="add">
          <ac:chgData name="Rogers, Amanda (OST)" userId="S::amanda.rogers@ad.dot.gov::75b2722b-6ec1-4bf8-8a17-c8c89c83c278" providerId="AD" clId="Web-{1478C0E8-2E2B-1939-3732-4B10173A9173}" dt="2023-10-05T18:22:47.454" v="17"/>
          <ac:grpSpMkLst>
            <pc:docMk/>
            <pc:sldMk cId="2044158494" sldId="331"/>
            <ac:grpSpMk id="11" creationId="{54F8D52B-EA8B-56E2-CC9A-F4AD286B335F}"/>
          </ac:grpSpMkLst>
        </pc:grpChg>
        <pc:picChg chg="add">
          <ac:chgData name="Rogers, Amanda (OST)" userId="S::amanda.rogers@ad.dot.gov::75b2722b-6ec1-4bf8-8a17-c8c89c83c278" providerId="AD" clId="Web-{1478C0E8-2E2B-1939-3732-4B10173A9173}" dt="2023-10-05T18:22:52.657" v="18"/>
          <ac:picMkLst>
            <pc:docMk/>
            <pc:sldMk cId="2044158494" sldId="331"/>
            <ac:picMk id="13" creationId="{02CFDAA8-7621-9F34-E464-BFD0D60D1F40}"/>
          </ac:picMkLst>
        </pc:picChg>
        <pc:picChg chg="add del mod">
          <ac:chgData name="Rogers, Amanda (OST)" userId="S::amanda.rogers@ad.dot.gov::75b2722b-6ec1-4bf8-8a17-c8c89c83c278" providerId="AD" clId="Web-{1478C0E8-2E2B-1939-3732-4B10173A9173}" dt="2023-10-05T18:23:14.939" v="23"/>
          <ac:picMkLst>
            <pc:docMk/>
            <pc:sldMk cId="2044158494" sldId="331"/>
            <ac:picMk id="15" creationId="{C36ADFA9-2FFF-8642-83BE-AA319E59343F}"/>
          </ac:picMkLst>
        </pc:picChg>
      </pc:sldChg>
      <pc:sldChg chg="addSp delSp modSp new">
        <pc:chgData name="Rogers, Amanda (OST)" userId="S::amanda.rogers@ad.dot.gov::75b2722b-6ec1-4bf8-8a17-c8c89c83c278" providerId="AD" clId="Web-{1478C0E8-2E2B-1939-3732-4B10173A9173}" dt="2023-10-05T18:30:46.621" v="114"/>
        <pc:sldMkLst>
          <pc:docMk/>
          <pc:sldMk cId="2792780490" sldId="333"/>
        </pc:sldMkLst>
        <pc:spChg chg="del">
          <ac:chgData name="Rogers, Amanda (OST)" userId="S::amanda.rogers@ad.dot.gov::75b2722b-6ec1-4bf8-8a17-c8c89c83c278" providerId="AD" clId="Web-{1478C0E8-2E2B-1939-3732-4B10173A9173}" dt="2023-10-05T18:30:46.621" v="114"/>
          <ac:spMkLst>
            <pc:docMk/>
            <pc:sldMk cId="2792780490" sldId="333"/>
            <ac:spMk id="2" creationId="{A3AAA283-3CD8-DCE7-4F53-0E787E0E00BC}"/>
          </ac:spMkLst>
        </pc:spChg>
        <pc:spChg chg="add mod">
          <ac:chgData name="Rogers, Amanda (OST)" userId="S::amanda.rogers@ad.dot.gov::75b2722b-6ec1-4bf8-8a17-c8c89c83c278" providerId="AD" clId="Web-{1478C0E8-2E2B-1939-3732-4B10173A9173}" dt="2023-10-05T18:30:34.324" v="110" actId="20577"/>
          <ac:spMkLst>
            <pc:docMk/>
            <pc:sldMk cId="2792780490" sldId="333"/>
            <ac:spMk id="4" creationId="{88D09369-D331-C03D-B449-F367F3ACAF05}"/>
          </ac:spMkLst>
        </pc:spChg>
        <pc:spChg chg="add">
          <ac:chgData name="Rogers, Amanda (OST)" userId="S::amanda.rogers@ad.dot.gov::75b2722b-6ec1-4bf8-8a17-c8c89c83c278" providerId="AD" clId="Web-{1478C0E8-2E2B-1939-3732-4B10173A9173}" dt="2023-10-05T18:30:43.433" v="111"/>
          <ac:spMkLst>
            <pc:docMk/>
            <pc:sldMk cId="2792780490" sldId="333"/>
            <ac:spMk id="6" creationId="{6031896C-EDD5-B88A-E004-D273B3C0CB86}"/>
          </ac:spMkLst>
        </pc:spChg>
        <pc:spChg chg="add">
          <ac:chgData name="Rogers, Amanda (OST)" userId="S::amanda.rogers@ad.dot.gov::75b2722b-6ec1-4bf8-8a17-c8c89c83c278" providerId="AD" clId="Web-{1478C0E8-2E2B-1939-3732-4B10173A9173}" dt="2023-10-05T18:30:43.464" v="112"/>
          <ac:spMkLst>
            <pc:docMk/>
            <pc:sldMk cId="2792780490" sldId="333"/>
            <ac:spMk id="8" creationId="{D494F108-7CA3-FB07-B077-4378C6908A28}"/>
          </ac:spMkLst>
        </pc:spChg>
        <pc:picChg chg="add">
          <ac:chgData name="Rogers, Amanda (OST)" userId="S::amanda.rogers@ad.dot.gov::75b2722b-6ec1-4bf8-8a17-c8c89c83c278" providerId="AD" clId="Web-{1478C0E8-2E2B-1939-3732-4B10173A9173}" dt="2023-10-05T18:30:43.480" v="113"/>
          <ac:picMkLst>
            <pc:docMk/>
            <pc:sldMk cId="2792780490" sldId="333"/>
            <ac:picMk id="10" creationId="{B7125331-2601-3F76-E093-FBC0AD66BFAD}"/>
          </ac:picMkLst>
        </pc:picChg>
      </pc:sldChg>
      <pc:sldChg chg="addSp delSp modSp new">
        <pc:chgData name="Rogers, Amanda (OST)" userId="S::amanda.rogers@ad.dot.gov::75b2722b-6ec1-4bf8-8a17-c8c89c83c278" providerId="AD" clId="Web-{1478C0E8-2E2B-1939-3732-4B10173A9173}" dt="2023-10-05T18:33:49.187" v="143" actId="1076"/>
        <pc:sldMkLst>
          <pc:docMk/>
          <pc:sldMk cId="1413385125" sldId="334"/>
        </pc:sldMkLst>
        <pc:spChg chg="del">
          <ac:chgData name="Rogers, Amanda (OST)" userId="S::amanda.rogers@ad.dot.gov::75b2722b-6ec1-4bf8-8a17-c8c89c83c278" providerId="AD" clId="Web-{1478C0E8-2E2B-1939-3732-4B10173A9173}" dt="2023-10-05T18:33:29.296" v="139"/>
          <ac:spMkLst>
            <pc:docMk/>
            <pc:sldMk cId="1413385125" sldId="334"/>
            <ac:spMk id="2" creationId="{527BF14A-19FE-2833-413D-4E40BDDADF35}"/>
          </ac:spMkLst>
        </pc:spChg>
        <pc:spChg chg="add mod">
          <ac:chgData name="Rogers, Amanda (OST)" userId="S::amanda.rogers@ad.dot.gov::75b2722b-6ec1-4bf8-8a17-c8c89c83c278" providerId="AD" clId="Web-{1478C0E8-2E2B-1939-3732-4B10173A9173}" dt="2023-10-05T18:32:48.436" v="133" actId="20577"/>
          <ac:spMkLst>
            <pc:docMk/>
            <pc:sldMk cId="1413385125" sldId="334"/>
            <ac:spMk id="4" creationId="{60FF39EC-2791-71B6-A859-4EC10ECC03FC}"/>
          </ac:spMkLst>
        </pc:spChg>
        <pc:spChg chg="add mod">
          <ac:chgData name="Rogers, Amanda (OST)" userId="S::amanda.rogers@ad.dot.gov::75b2722b-6ec1-4bf8-8a17-c8c89c83c278" providerId="AD" clId="Web-{1478C0E8-2E2B-1939-3732-4B10173A9173}" dt="2023-10-05T18:33:37.359" v="140" actId="1076"/>
          <ac:spMkLst>
            <pc:docMk/>
            <pc:sldMk cId="1413385125" sldId="334"/>
            <ac:spMk id="6" creationId="{6F6CC64F-800B-0B88-04E5-4BEB42905CE0}"/>
          </ac:spMkLst>
        </pc:spChg>
        <pc:spChg chg="add mod">
          <ac:chgData name="Rogers, Amanda (OST)" userId="S::amanda.rogers@ad.dot.gov::75b2722b-6ec1-4bf8-8a17-c8c89c83c278" providerId="AD" clId="Web-{1478C0E8-2E2B-1939-3732-4B10173A9173}" dt="2023-10-05T18:33:49.187" v="143" actId="1076"/>
          <ac:spMkLst>
            <pc:docMk/>
            <pc:sldMk cId="1413385125" sldId="334"/>
            <ac:spMk id="10" creationId="{B4BF1869-CCC5-C1BD-B9EE-B5E76757895C}"/>
          </ac:spMkLst>
        </pc:spChg>
        <pc:picChg chg="add mod">
          <ac:chgData name="Rogers, Amanda (OST)" userId="S::amanda.rogers@ad.dot.gov::75b2722b-6ec1-4bf8-8a17-c8c89c83c278" providerId="AD" clId="Web-{1478C0E8-2E2B-1939-3732-4B10173A9173}" dt="2023-10-05T18:33:26.921" v="138" actId="1076"/>
          <ac:picMkLst>
            <pc:docMk/>
            <pc:sldMk cId="1413385125" sldId="334"/>
            <ac:picMk id="8" creationId="{835D4D25-061B-44B6-456B-12955293D0C6}"/>
          </ac:picMkLst>
        </pc:picChg>
      </pc:sldChg>
      <pc:sldChg chg="addSp delSp modSp new">
        <pc:chgData name="Rogers, Amanda (OST)" userId="S::amanda.rogers@ad.dot.gov::75b2722b-6ec1-4bf8-8a17-c8c89c83c278" providerId="AD" clId="Web-{1478C0E8-2E2B-1939-3732-4B10173A9173}" dt="2023-10-05T18:36:00.159" v="205" actId="1076"/>
        <pc:sldMkLst>
          <pc:docMk/>
          <pc:sldMk cId="2207257295" sldId="335"/>
        </pc:sldMkLst>
        <pc:spChg chg="del">
          <ac:chgData name="Rogers, Amanda (OST)" userId="S::amanda.rogers@ad.dot.gov::75b2722b-6ec1-4bf8-8a17-c8c89c83c278" providerId="AD" clId="Web-{1478C0E8-2E2B-1939-3732-4B10173A9173}" dt="2023-10-05T18:35:32.674" v="196"/>
          <ac:spMkLst>
            <pc:docMk/>
            <pc:sldMk cId="2207257295" sldId="335"/>
            <ac:spMk id="2" creationId="{ED4AC5E9-824A-2321-0480-D6941CD4B297}"/>
          </ac:spMkLst>
        </pc:spChg>
        <pc:spChg chg="add mod">
          <ac:chgData name="Rogers, Amanda (OST)" userId="S::amanda.rogers@ad.dot.gov::75b2722b-6ec1-4bf8-8a17-c8c89c83c278" providerId="AD" clId="Web-{1478C0E8-2E2B-1939-3732-4B10173A9173}" dt="2023-10-05T18:34:58.579" v="183" actId="1076"/>
          <ac:spMkLst>
            <pc:docMk/>
            <pc:sldMk cId="2207257295" sldId="335"/>
            <ac:spMk id="4" creationId="{26B50148-4DF9-87EE-0FDE-E6AB217C1486}"/>
          </ac:spMkLst>
        </pc:spChg>
        <pc:spChg chg="add">
          <ac:chgData name="Rogers, Amanda (OST)" userId="S::amanda.rogers@ad.dot.gov::75b2722b-6ec1-4bf8-8a17-c8c89c83c278" providerId="AD" clId="Web-{1478C0E8-2E2B-1939-3732-4B10173A9173}" dt="2023-10-05T18:35:10.548" v="187"/>
          <ac:spMkLst>
            <pc:docMk/>
            <pc:sldMk cId="2207257295" sldId="335"/>
            <ac:spMk id="18" creationId="{585072A6-0F65-74A4-B138-235B09C23B38}"/>
          </ac:spMkLst>
        </pc:spChg>
        <pc:spChg chg="add">
          <ac:chgData name="Rogers, Amanda (OST)" userId="S::amanda.rogers@ad.dot.gov::75b2722b-6ec1-4bf8-8a17-c8c89c83c278" providerId="AD" clId="Web-{1478C0E8-2E2B-1939-3732-4B10173A9173}" dt="2023-10-05T18:35:10.705" v="193"/>
          <ac:spMkLst>
            <pc:docMk/>
            <pc:sldMk cId="2207257295" sldId="335"/>
            <ac:spMk id="32" creationId="{D93CB0F9-5525-BE2F-9A7B-494E70F57864}"/>
          </ac:spMkLst>
        </pc:spChg>
        <pc:spChg chg="add">
          <ac:chgData name="Rogers, Amanda (OST)" userId="S::amanda.rogers@ad.dot.gov::75b2722b-6ec1-4bf8-8a17-c8c89c83c278" providerId="AD" clId="Web-{1478C0E8-2E2B-1939-3732-4B10173A9173}" dt="2023-10-05T18:35:21.377" v="194"/>
          <ac:spMkLst>
            <pc:docMk/>
            <pc:sldMk cId="2207257295" sldId="335"/>
            <ac:spMk id="34" creationId="{97FC65E5-F090-7222-297C-AB03D8F16982}"/>
          </ac:spMkLst>
        </pc:spChg>
        <pc:spChg chg="add mod">
          <ac:chgData name="Rogers, Amanda (OST)" userId="S::amanda.rogers@ad.dot.gov::75b2722b-6ec1-4bf8-8a17-c8c89c83c278" providerId="AD" clId="Web-{1478C0E8-2E2B-1939-3732-4B10173A9173}" dt="2023-10-05T18:36:00.159" v="205" actId="1076"/>
          <ac:spMkLst>
            <pc:docMk/>
            <pc:sldMk cId="2207257295" sldId="335"/>
            <ac:spMk id="38" creationId="{5D1A48EC-0407-5986-BE7F-1DEA93097B87}"/>
          </ac:spMkLst>
        </pc:spChg>
        <pc:grpChg chg="add">
          <ac:chgData name="Rogers, Amanda (OST)" userId="S::amanda.rogers@ad.dot.gov::75b2722b-6ec1-4bf8-8a17-c8c89c83c278" providerId="AD" clId="Web-{1478C0E8-2E2B-1939-3732-4B10173A9173}" dt="2023-10-05T18:35:10.517" v="185"/>
          <ac:grpSpMkLst>
            <pc:docMk/>
            <pc:sldMk cId="2207257295" sldId="335"/>
            <ac:grpSpMk id="11" creationId="{953A4EB2-2981-6752-7C76-74BDCB751005}"/>
          </ac:grpSpMkLst>
        </pc:grpChg>
        <pc:grpChg chg="add">
          <ac:chgData name="Rogers, Amanda (OST)" userId="S::amanda.rogers@ad.dot.gov::75b2722b-6ec1-4bf8-8a17-c8c89c83c278" providerId="AD" clId="Web-{1478C0E8-2E2B-1939-3732-4B10173A9173}" dt="2023-10-05T18:35:10.533" v="186"/>
          <ac:grpSpMkLst>
            <pc:docMk/>
            <pc:sldMk cId="2207257295" sldId="335"/>
            <ac:grpSpMk id="16" creationId="{DD6CB713-80AC-407E-8384-D9976B94C3F8}"/>
          </ac:grpSpMkLst>
        </pc:grpChg>
        <pc:grpChg chg="add">
          <ac:chgData name="Rogers, Amanda (OST)" userId="S::amanda.rogers@ad.dot.gov::75b2722b-6ec1-4bf8-8a17-c8c89c83c278" providerId="AD" clId="Web-{1478C0E8-2E2B-1939-3732-4B10173A9173}" dt="2023-10-05T18:35:10.642" v="189"/>
          <ac:grpSpMkLst>
            <pc:docMk/>
            <pc:sldMk cId="2207257295" sldId="335"/>
            <ac:grpSpMk id="24" creationId="{ED647C13-B437-C55D-6584-8EA08CE95FB7}"/>
          </ac:grpSpMkLst>
        </pc:grpChg>
        <pc:graphicFrameChg chg="add">
          <ac:chgData name="Rogers, Amanda (OST)" userId="S::amanda.rogers@ad.dot.gov::75b2722b-6ec1-4bf8-8a17-c8c89c83c278" providerId="AD" clId="Web-{1478C0E8-2E2B-1939-3732-4B10173A9173}" dt="2023-10-05T18:35:10.486" v="184"/>
          <ac:graphicFrameMkLst>
            <pc:docMk/>
            <pc:sldMk cId="2207257295" sldId="335"/>
            <ac:graphicFrameMk id="6" creationId="{5F064969-1BEA-F474-5E10-BB5AC4EE3B80}"/>
          </ac:graphicFrameMkLst>
        </pc:graphicFrameChg>
        <pc:graphicFrameChg chg="add">
          <ac:chgData name="Rogers, Amanda (OST)" userId="S::amanda.rogers@ad.dot.gov::75b2722b-6ec1-4bf8-8a17-c8c89c83c278" providerId="AD" clId="Web-{1478C0E8-2E2B-1939-3732-4B10173A9173}" dt="2023-10-05T18:35:27.486" v="195"/>
          <ac:graphicFrameMkLst>
            <pc:docMk/>
            <pc:sldMk cId="2207257295" sldId="335"/>
            <ac:graphicFrameMk id="36" creationId="{00B273D3-C416-46F9-E4EF-B7761D9BF30E}"/>
          </ac:graphicFrameMkLst>
        </pc:graphicFrameChg>
        <pc:picChg chg="add">
          <ac:chgData name="Rogers, Amanda (OST)" userId="S::amanda.rogers@ad.dot.gov::75b2722b-6ec1-4bf8-8a17-c8c89c83c278" providerId="AD" clId="Web-{1478C0E8-2E2B-1939-3732-4B10173A9173}" dt="2023-10-05T18:35:10.627" v="188"/>
          <ac:picMkLst>
            <pc:docMk/>
            <pc:sldMk cId="2207257295" sldId="335"/>
            <ac:picMk id="20" creationId="{4C36B9D8-6792-7700-1C4B-D3CDEA7647A8}"/>
          </ac:picMkLst>
        </pc:picChg>
        <pc:cxnChg chg="add">
          <ac:chgData name="Rogers, Amanda (OST)" userId="S::amanda.rogers@ad.dot.gov::75b2722b-6ec1-4bf8-8a17-c8c89c83c278" providerId="AD" clId="Web-{1478C0E8-2E2B-1939-3732-4B10173A9173}" dt="2023-10-05T18:35:10.658" v="190"/>
          <ac:cxnSpMkLst>
            <pc:docMk/>
            <pc:sldMk cId="2207257295" sldId="335"/>
            <ac:cxnSpMk id="26" creationId="{1AAEB27D-30C7-E3A1-8050-1BEAF54320F5}"/>
          </ac:cxnSpMkLst>
        </pc:cxnChg>
        <pc:cxnChg chg="add">
          <ac:chgData name="Rogers, Amanda (OST)" userId="S::amanda.rogers@ad.dot.gov::75b2722b-6ec1-4bf8-8a17-c8c89c83c278" providerId="AD" clId="Web-{1478C0E8-2E2B-1939-3732-4B10173A9173}" dt="2023-10-05T18:35:10.673" v="191"/>
          <ac:cxnSpMkLst>
            <pc:docMk/>
            <pc:sldMk cId="2207257295" sldId="335"/>
            <ac:cxnSpMk id="28" creationId="{7A3719E0-A449-FB13-DD7F-C255A19149AD}"/>
          </ac:cxnSpMkLst>
        </pc:cxnChg>
        <pc:cxnChg chg="add">
          <ac:chgData name="Rogers, Amanda (OST)" userId="S::amanda.rogers@ad.dot.gov::75b2722b-6ec1-4bf8-8a17-c8c89c83c278" providerId="AD" clId="Web-{1478C0E8-2E2B-1939-3732-4B10173A9173}" dt="2023-10-05T18:35:10.673" v="192"/>
          <ac:cxnSpMkLst>
            <pc:docMk/>
            <pc:sldMk cId="2207257295" sldId="335"/>
            <ac:cxnSpMk id="30" creationId="{832EAD2D-CBB1-745F-ABDB-3AE2E0BF8902}"/>
          </ac:cxnSpMkLst>
        </pc:cxnChg>
      </pc:sldChg>
      <pc:sldChg chg="addSp delSp modSp new">
        <pc:chgData name="Rogers, Amanda (OST)" userId="S::amanda.rogers@ad.dot.gov::75b2722b-6ec1-4bf8-8a17-c8c89c83c278" providerId="AD" clId="Web-{1478C0E8-2E2B-1939-3732-4B10173A9173}" dt="2023-10-05T18:39:31.382" v="256" actId="20577"/>
        <pc:sldMkLst>
          <pc:docMk/>
          <pc:sldMk cId="372809200" sldId="336"/>
        </pc:sldMkLst>
        <pc:spChg chg="mod">
          <ac:chgData name="Rogers, Amanda (OST)" userId="S::amanda.rogers@ad.dot.gov::75b2722b-6ec1-4bf8-8a17-c8c89c83c278" providerId="AD" clId="Web-{1478C0E8-2E2B-1939-3732-4B10173A9173}" dt="2023-10-05T18:37:27.176" v="226"/>
          <ac:spMkLst>
            <pc:docMk/>
            <pc:sldMk cId="372809200" sldId="336"/>
            <ac:spMk id="2" creationId="{75B275E3-E72A-19F4-3268-EA47F26425CD}"/>
          </ac:spMkLst>
        </pc:spChg>
        <pc:spChg chg="del">
          <ac:chgData name="Rogers, Amanda (OST)" userId="S::amanda.rogers@ad.dot.gov::75b2722b-6ec1-4bf8-8a17-c8c89c83c278" providerId="AD" clId="Web-{1478C0E8-2E2B-1939-3732-4B10173A9173}" dt="2023-10-05T18:38:06.380" v="235"/>
          <ac:spMkLst>
            <pc:docMk/>
            <pc:sldMk cId="372809200" sldId="336"/>
            <ac:spMk id="3" creationId="{2238806A-BAEE-1534-D6F5-8DD3DD059CC8}"/>
          </ac:spMkLst>
        </pc:spChg>
        <pc:spChg chg="add del mod">
          <ac:chgData name="Rogers, Amanda (OST)" userId="S::amanda.rogers@ad.dot.gov::75b2722b-6ec1-4bf8-8a17-c8c89c83c278" providerId="AD" clId="Web-{1478C0E8-2E2B-1939-3732-4B10173A9173}" dt="2023-10-05T18:36:23.909" v="211"/>
          <ac:spMkLst>
            <pc:docMk/>
            <pc:sldMk cId="372809200" sldId="336"/>
            <ac:spMk id="5" creationId="{78EE86D1-BFA0-5771-83FB-A0F6CC6906FE}"/>
          </ac:spMkLst>
        </pc:spChg>
        <pc:spChg chg="add mod">
          <ac:chgData name="Rogers, Amanda (OST)" userId="S::amanda.rogers@ad.dot.gov::75b2722b-6ec1-4bf8-8a17-c8c89c83c278" providerId="AD" clId="Web-{1478C0E8-2E2B-1939-3732-4B10173A9173}" dt="2023-10-05T18:39:31.382" v="256" actId="20577"/>
          <ac:spMkLst>
            <pc:docMk/>
            <pc:sldMk cId="372809200" sldId="336"/>
            <ac:spMk id="7" creationId="{5995FC07-C5F6-4E1A-1247-D18F3C0EB67E}"/>
          </ac:spMkLst>
        </pc:spChg>
        <pc:spChg chg="add del">
          <ac:chgData name="Rogers, Amanda (OST)" userId="S::amanda.rogers@ad.dot.gov::75b2722b-6ec1-4bf8-8a17-c8c89c83c278" providerId="AD" clId="Web-{1478C0E8-2E2B-1939-3732-4B10173A9173}" dt="2023-10-05T18:38:04.630" v="234"/>
          <ac:spMkLst>
            <pc:docMk/>
            <pc:sldMk cId="372809200" sldId="336"/>
            <ac:spMk id="9" creationId="{C1A618CD-67A5-7BF1-C9FD-E3CC4F1F0EDF}"/>
          </ac:spMkLst>
        </pc:spChg>
        <pc:spChg chg="add del">
          <ac:chgData name="Rogers, Amanda (OST)" userId="S::amanda.rogers@ad.dot.gov::75b2722b-6ec1-4bf8-8a17-c8c89c83c278" providerId="AD" clId="Web-{1478C0E8-2E2B-1939-3732-4B10173A9173}" dt="2023-10-05T18:38:38.678" v="236"/>
          <ac:spMkLst>
            <pc:docMk/>
            <pc:sldMk cId="372809200" sldId="336"/>
            <ac:spMk id="11" creationId="{F446F7DB-12DA-CF87-C965-F4B581569FA1}"/>
          </ac:spMkLst>
        </pc:spChg>
        <pc:picChg chg="add mod">
          <ac:chgData name="Rogers, Amanda (OST)" userId="S::amanda.rogers@ad.dot.gov::75b2722b-6ec1-4bf8-8a17-c8c89c83c278" providerId="AD" clId="Web-{1478C0E8-2E2B-1939-3732-4B10173A9173}" dt="2023-10-05T18:38:56.241" v="246" actId="1076"/>
          <ac:picMkLst>
            <pc:docMk/>
            <pc:sldMk cId="372809200" sldId="336"/>
            <ac:picMk id="13" creationId="{1AB4A689-90B9-AB2F-00B1-8822767BE600}"/>
          </ac:picMkLst>
        </pc:picChg>
        <pc:picChg chg="add mod">
          <ac:chgData name="Rogers, Amanda (OST)" userId="S::amanda.rogers@ad.dot.gov::75b2722b-6ec1-4bf8-8a17-c8c89c83c278" providerId="AD" clId="Web-{1478C0E8-2E2B-1939-3732-4B10173A9173}" dt="2023-10-05T18:39:04.491" v="250" actId="1076"/>
          <ac:picMkLst>
            <pc:docMk/>
            <pc:sldMk cId="372809200" sldId="336"/>
            <ac:picMk id="14" creationId="{5A34B23D-4BEF-C956-4994-752C394EEA72}"/>
          </ac:picMkLst>
        </pc:picChg>
      </pc:sldChg>
    </pc:docChg>
  </pc:docChgLst>
  <pc:docChgLst>
    <pc:chgData name="Rogers, Amanda (OST)" userId="S::amanda.rogers@ad.dot.gov::75b2722b-6ec1-4bf8-8a17-c8c89c83c278" providerId="AD" clId="Web-{AFEDF55E-A23D-7D49-AC82-4E15DED08311}"/>
    <pc:docChg chg="modSld">
      <pc:chgData name="Rogers, Amanda (OST)" userId="S::amanda.rogers@ad.dot.gov::75b2722b-6ec1-4bf8-8a17-c8c89c83c278" providerId="AD" clId="Web-{AFEDF55E-A23D-7D49-AC82-4E15DED08311}" dt="2023-07-26T19:13:48.630" v="2" actId="1076"/>
      <pc:docMkLst>
        <pc:docMk/>
      </pc:docMkLst>
      <pc:sldChg chg="modSp">
        <pc:chgData name="Rogers, Amanda (OST)" userId="S::amanda.rogers@ad.dot.gov::75b2722b-6ec1-4bf8-8a17-c8c89c83c278" providerId="AD" clId="Web-{AFEDF55E-A23D-7D49-AC82-4E15DED08311}" dt="2023-07-26T19:13:48.630" v="2" actId="1076"/>
        <pc:sldMkLst>
          <pc:docMk/>
          <pc:sldMk cId="1486261688" sldId="287"/>
        </pc:sldMkLst>
        <pc:spChg chg="mod">
          <ac:chgData name="Rogers, Amanda (OST)" userId="S::amanda.rogers@ad.dot.gov::75b2722b-6ec1-4bf8-8a17-c8c89c83c278" providerId="AD" clId="Web-{AFEDF55E-A23D-7D49-AC82-4E15DED08311}" dt="2023-07-26T19:13:48.630" v="2" actId="1076"/>
          <ac:spMkLst>
            <pc:docMk/>
            <pc:sldMk cId="1486261688" sldId="287"/>
            <ac:spMk id="2" creationId="{6916151D-A3DD-4716-807D-E60AFFA139E7}"/>
          </ac:spMkLst>
        </pc:spChg>
      </pc:sldChg>
    </pc:docChg>
  </pc:docChgLst>
  <pc:docChgLst>
    <pc:chgData name="Rogers, Amanda (OST)" userId="S::amanda.rogers@ad.dot.gov::75b2722b-6ec1-4bf8-8a17-c8c89c83c278" providerId="AD" clId="Web-{916C7B0E-7421-433D-BC7A-F48F5F84ED19}"/>
    <pc:docChg chg="addSld modSld">
      <pc:chgData name="Rogers, Amanda (OST)" userId="S::amanda.rogers@ad.dot.gov::75b2722b-6ec1-4bf8-8a17-c8c89c83c278" providerId="AD" clId="Web-{916C7B0E-7421-433D-BC7A-F48F5F84ED19}" dt="2023-06-22T20:59:18.206" v="113" actId="20577"/>
      <pc:docMkLst>
        <pc:docMk/>
      </pc:docMkLst>
      <pc:sldChg chg="delSp modSp">
        <pc:chgData name="Rogers, Amanda (OST)" userId="S::amanda.rogers@ad.dot.gov::75b2722b-6ec1-4bf8-8a17-c8c89c83c278" providerId="AD" clId="Web-{916C7B0E-7421-433D-BC7A-F48F5F84ED19}" dt="2023-06-22T20:59:18.206" v="113" actId="20577"/>
        <pc:sldMkLst>
          <pc:docMk/>
          <pc:sldMk cId="109857222" sldId="256"/>
        </pc:sldMkLst>
        <pc:spChg chg="del">
          <ac:chgData name="Rogers, Amanda (OST)" userId="S::amanda.rogers@ad.dot.gov::75b2722b-6ec1-4bf8-8a17-c8c89c83c278" providerId="AD" clId="Web-{916C7B0E-7421-433D-BC7A-F48F5F84ED19}" dt="2023-06-22T20:57:49.283" v="1"/>
          <ac:spMkLst>
            <pc:docMk/>
            <pc:sldMk cId="109857222" sldId="256"/>
            <ac:spMk id="2" creationId="{00000000-0000-0000-0000-000000000000}"/>
          </ac:spMkLst>
        </pc:spChg>
        <pc:spChg chg="mod">
          <ac:chgData name="Rogers, Amanda (OST)" userId="S::amanda.rogers@ad.dot.gov::75b2722b-6ec1-4bf8-8a17-c8c89c83c278" providerId="AD" clId="Web-{916C7B0E-7421-433D-BC7A-F48F5F84ED19}" dt="2023-06-22T20:59:18.206" v="113" actId="20577"/>
          <ac:spMkLst>
            <pc:docMk/>
            <pc:sldMk cId="109857222" sldId="256"/>
            <ac:spMk id="3" creationId="{00000000-0000-0000-0000-000000000000}"/>
          </ac:spMkLst>
        </pc:spChg>
      </pc:sldChg>
      <pc:sldChg chg="new">
        <pc:chgData name="Rogers, Amanda (OST)" userId="S::amanda.rogers@ad.dot.gov::75b2722b-6ec1-4bf8-8a17-c8c89c83c278" providerId="AD" clId="Web-{916C7B0E-7421-433D-BC7A-F48F5F84ED19}" dt="2023-06-22T20:57:42.314" v="0"/>
        <pc:sldMkLst>
          <pc:docMk/>
          <pc:sldMk cId="1596142178" sldId="257"/>
        </pc:sldMkLst>
      </pc:sldChg>
    </pc:docChg>
  </pc:docChgLst>
  <pc:docChgLst>
    <pc:chgData name="Rogers, Amanda (OST)" userId="S::amanda.rogers@ad.dot.gov::75b2722b-6ec1-4bf8-8a17-c8c89c83c278" providerId="AD" clId="Web-{9F58CBDC-78C5-1B25-9D4D-C9F831C81DB9}"/>
    <pc:docChg chg="addSld delSld modSld sldOrd">
      <pc:chgData name="Rogers, Amanda (OST)" userId="S::amanda.rogers@ad.dot.gov::75b2722b-6ec1-4bf8-8a17-c8c89c83c278" providerId="AD" clId="Web-{9F58CBDC-78C5-1B25-9D4D-C9F831C81DB9}" dt="2024-02-08T16:37:56.705" v="180" actId="1076"/>
      <pc:docMkLst>
        <pc:docMk/>
      </pc:docMkLst>
      <pc:sldChg chg="modSp">
        <pc:chgData name="Rogers, Amanda (OST)" userId="S::amanda.rogers@ad.dot.gov::75b2722b-6ec1-4bf8-8a17-c8c89c83c278" providerId="AD" clId="Web-{9F58CBDC-78C5-1B25-9D4D-C9F831C81DB9}" dt="2024-02-08T16:20:42.594" v="2" actId="20577"/>
        <pc:sldMkLst>
          <pc:docMk/>
          <pc:sldMk cId="109857222" sldId="256"/>
        </pc:sldMkLst>
        <pc:spChg chg="mod">
          <ac:chgData name="Rogers, Amanda (OST)" userId="S::amanda.rogers@ad.dot.gov::75b2722b-6ec1-4bf8-8a17-c8c89c83c278" providerId="AD" clId="Web-{9F58CBDC-78C5-1B25-9D4D-C9F831C81DB9}" dt="2024-02-08T16:20:42.594" v="2" actId="20577"/>
          <ac:spMkLst>
            <pc:docMk/>
            <pc:sldMk cId="109857222" sldId="256"/>
            <ac:spMk id="3" creationId="{00000000-0000-0000-0000-000000000000}"/>
          </ac:spMkLst>
        </pc:spChg>
      </pc:sldChg>
      <pc:sldChg chg="ord">
        <pc:chgData name="Rogers, Amanda (OST)" userId="S::amanda.rogers@ad.dot.gov::75b2722b-6ec1-4bf8-8a17-c8c89c83c278" providerId="AD" clId="Web-{9F58CBDC-78C5-1B25-9D4D-C9F831C81DB9}" dt="2024-02-08T16:23:16.971" v="18"/>
        <pc:sldMkLst>
          <pc:docMk/>
          <pc:sldMk cId="857635325" sldId="259"/>
        </pc:sldMkLst>
      </pc:sldChg>
      <pc:sldChg chg="addSp delSp modSp">
        <pc:chgData name="Rogers, Amanda (OST)" userId="S::amanda.rogers@ad.dot.gov::75b2722b-6ec1-4bf8-8a17-c8c89c83c278" providerId="AD" clId="Web-{9F58CBDC-78C5-1B25-9D4D-C9F831C81DB9}" dt="2024-02-08T16:25:44.880" v="64"/>
        <pc:sldMkLst>
          <pc:docMk/>
          <pc:sldMk cId="1337669140" sldId="260"/>
        </pc:sldMkLst>
        <pc:spChg chg="del">
          <ac:chgData name="Rogers, Amanda (OST)" userId="S::amanda.rogers@ad.dot.gov::75b2722b-6ec1-4bf8-8a17-c8c89c83c278" providerId="AD" clId="Web-{9F58CBDC-78C5-1B25-9D4D-C9F831C81DB9}" dt="2024-02-08T16:25:44.880" v="64"/>
          <ac:spMkLst>
            <pc:docMk/>
            <pc:sldMk cId="1337669140" sldId="260"/>
            <ac:spMk id="5" creationId="{C940792A-6C98-465C-98D1-ADFA5059B1EB}"/>
          </ac:spMkLst>
        </pc:spChg>
        <pc:spChg chg="add del mod">
          <ac:chgData name="Rogers, Amanda (OST)" userId="S::amanda.rogers@ad.dot.gov::75b2722b-6ec1-4bf8-8a17-c8c89c83c278" providerId="AD" clId="Web-{9F58CBDC-78C5-1B25-9D4D-C9F831C81DB9}" dt="2024-02-08T16:23:10.956" v="16"/>
          <ac:spMkLst>
            <pc:docMk/>
            <pc:sldMk cId="1337669140" sldId="260"/>
            <ac:spMk id="21" creationId="{DAFBB3B4-90ED-40F7-4730-39AF7F200BAB}"/>
          </ac:spMkLst>
        </pc:spChg>
        <pc:graphicFrameChg chg="mod">
          <ac:chgData name="Rogers, Amanda (OST)" userId="S::amanda.rogers@ad.dot.gov::75b2722b-6ec1-4bf8-8a17-c8c89c83c278" providerId="AD" clId="Web-{9F58CBDC-78C5-1B25-9D4D-C9F831C81DB9}" dt="2024-02-08T16:23:04.440" v="13" actId="14100"/>
          <ac:graphicFrameMkLst>
            <pc:docMk/>
            <pc:sldMk cId="1337669140" sldId="260"/>
            <ac:graphicFrameMk id="3" creationId="{0CF08D1A-48A3-490C-BD60-CD8375A19537}"/>
          </ac:graphicFrameMkLst>
        </pc:graphicFrameChg>
      </pc:sldChg>
      <pc:sldChg chg="del">
        <pc:chgData name="Rogers, Amanda (OST)" userId="S::amanda.rogers@ad.dot.gov::75b2722b-6ec1-4bf8-8a17-c8c89c83c278" providerId="AD" clId="Web-{9F58CBDC-78C5-1B25-9D4D-C9F831C81DB9}" dt="2024-02-08T16:23:42.191" v="19"/>
        <pc:sldMkLst>
          <pc:docMk/>
          <pc:sldMk cId="30643072" sldId="261"/>
        </pc:sldMkLst>
      </pc:sldChg>
      <pc:sldChg chg="modSp">
        <pc:chgData name="Rogers, Amanda (OST)" userId="S::amanda.rogers@ad.dot.gov::75b2722b-6ec1-4bf8-8a17-c8c89c83c278" providerId="AD" clId="Web-{9F58CBDC-78C5-1B25-9D4D-C9F831C81DB9}" dt="2024-02-08T16:31:44.605" v="66" actId="1076"/>
        <pc:sldMkLst>
          <pc:docMk/>
          <pc:sldMk cId="487430412" sldId="265"/>
        </pc:sldMkLst>
        <pc:picChg chg="mod">
          <ac:chgData name="Rogers, Amanda (OST)" userId="S::amanda.rogers@ad.dot.gov::75b2722b-6ec1-4bf8-8a17-c8c89c83c278" providerId="AD" clId="Web-{9F58CBDC-78C5-1B25-9D4D-C9F831C81DB9}" dt="2024-02-08T16:31:44.605" v="66" actId="1076"/>
          <ac:picMkLst>
            <pc:docMk/>
            <pc:sldMk cId="487430412" sldId="265"/>
            <ac:picMk id="2" creationId="{6CBB7217-13D0-E1D1-C2E3-661068201E84}"/>
          </ac:picMkLst>
        </pc:picChg>
      </pc:sldChg>
      <pc:sldChg chg="mod modShow">
        <pc:chgData name="Rogers, Amanda (OST)" userId="S::amanda.rogers@ad.dot.gov::75b2722b-6ec1-4bf8-8a17-c8c89c83c278" providerId="AD" clId="Web-{9F58CBDC-78C5-1B25-9D4D-C9F831C81DB9}" dt="2024-02-08T16:32:43.841" v="75"/>
        <pc:sldMkLst>
          <pc:docMk/>
          <pc:sldMk cId="3800569280" sldId="279"/>
        </pc:sldMkLst>
      </pc:sldChg>
      <pc:sldChg chg="mod modShow">
        <pc:chgData name="Rogers, Amanda (OST)" userId="S::amanda.rogers@ad.dot.gov::75b2722b-6ec1-4bf8-8a17-c8c89c83c278" providerId="AD" clId="Web-{9F58CBDC-78C5-1B25-9D4D-C9F831C81DB9}" dt="2024-02-08T16:32:35.059" v="73"/>
        <pc:sldMkLst>
          <pc:docMk/>
          <pc:sldMk cId="1081031505" sldId="281"/>
        </pc:sldMkLst>
      </pc:sldChg>
      <pc:sldChg chg="mod modShow">
        <pc:chgData name="Rogers, Amanda (OST)" userId="S::amanda.rogers@ad.dot.gov::75b2722b-6ec1-4bf8-8a17-c8c89c83c278" providerId="AD" clId="Web-{9F58CBDC-78C5-1B25-9D4D-C9F831C81DB9}" dt="2024-02-08T16:32:26.075" v="70"/>
        <pc:sldMkLst>
          <pc:docMk/>
          <pc:sldMk cId="4095912999" sldId="283"/>
        </pc:sldMkLst>
      </pc:sldChg>
      <pc:sldChg chg="mod modShow">
        <pc:chgData name="Rogers, Amanda (OST)" userId="S::amanda.rogers@ad.dot.gov::75b2722b-6ec1-4bf8-8a17-c8c89c83c278" providerId="AD" clId="Web-{9F58CBDC-78C5-1B25-9D4D-C9F831C81DB9}" dt="2024-02-08T16:32:30.043" v="71"/>
        <pc:sldMkLst>
          <pc:docMk/>
          <pc:sldMk cId="1726362834" sldId="302"/>
        </pc:sldMkLst>
      </pc:sldChg>
      <pc:sldChg chg="mod modShow">
        <pc:chgData name="Rogers, Amanda (OST)" userId="S::amanda.rogers@ad.dot.gov::75b2722b-6ec1-4bf8-8a17-c8c89c83c278" providerId="AD" clId="Web-{9F58CBDC-78C5-1B25-9D4D-C9F831C81DB9}" dt="2024-02-08T16:32:32.872" v="72"/>
        <pc:sldMkLst>
          <pc:docMk/>
          <pc:sldMk cId="3783120677" sldId="303"/>
        </pc:sldMkLst>
      </pc:sldChg>
      <pc:sldChg chg="del">
        <pc:chgData name="Rogers, Amanda (OST)" userId="S::amanda.rogers@ad.dot.gov::75b2722b-6ec1-4bf8-8a17-c8c89c83c278" providerId="AD" clId="Web-{9F58CBDC-78C5-1B25-9D4D-C9F831C81DB9}" dt="2024-02-08T16:32:02.121" v="67"/>
        <pc:sldMkLst>
          <pc:docMk/>
          <pc:sldMk cId="3888943211" sldId="315"/>
        </pc:sldMkLst>
      </pc:sldChg>
      <pc:sldChg chg="mod modShow">
        <pc:chgData name="Rogers, Amanda (OST)" userId="S::amanda.rogers@ad.dot.gov::75b2722b-6ec1-4bf8-8a17-c8c89c83c278" providerId="AD" clId="Web-{9F58CBDC-78C5-1B25-9D4D-C9F831C81DB9}" dt="2024-02-08T16:32:06.543" v="68"/>
        <pc:sldMkLst>
          <pc:docMk/>
          <pc:sldMk cId="2486704291" sldId="316"/>
        </pc:sldMkLst>
      </pc:sldChg>
      <pc:sldChg chg="mod modShow">
        <pc:chgData name="Rogers, Amanda (OST)" userId="S::amanda.rogers@ad.dot.gov::75b2722b-6ec1-4bf8-8a17-c8c89c83c278" providerId="AD" clId="Web-{9F58CBDC-78C5-1B25-9D4D-C9F831C81DB9}" dt="2024-02-08T16:32:21.934" v="69"/>
        <pc:sldMkLst>
          <pc:docMk/>
          <pc:sldMk cId="1623564173" sldId="317"/>
        </pc:sldMkLst>
      </pc:sldChg>
      <pc:sldChg chg="mod modShow">
        <pc:chgData name="Rogers, Amanda (OST)" userId="S::amanda.rogers@ad.dot.gov::75b2722b-6ec1-4bf8-8a17-c8c89c83c278" providerId="AD" clId="Web-{9F58CBDC-78C5-1B25-9D4D-C9F831C81DB9}" dt="2024-02-08T16:32:39.012" v="74"/>
        <pc:sldMkLst>
          <pc:docMk/>
          <pc:sldMk cId="3815437137" sldId="320"/>
        </pc:sldMkLst>
      </pc:sldChg>
      <pc:sldChg chg="addSp delSp modSp add replId">
        <pc:chgData name="Rogers, Amanda (OST)" userId="S::amanda.rogers@ad.dot.gov::75b2722b-6ec1-4bf8-8a17-c8c89c83c278" providerId="AD" clId="Web-{9F58CBDC-78C5-1B25-9D4D-C9F831C81DB9}" dt="2024-02-08T16:37:56.705" v="180" actId="1076"/>
        <pc:sldMkLst>
          <pc:docMk/>
          <pc:sldMk cId="211948113" sldId="337"/>
        </pc:sldMkLst>
        <pc:spChg chg="del mod">
          <ac:chgData name="Rogers, Amanda (OST)" userId="S::amanda.rogers@ad.dot.gov::75b2722b-6ec1-4bf8-8a17-c8c89c83c278" providerId="AD" clId="Web-{9F58CBDC-78C5-1B25-9D4D-C9F831C81DB9}" dt="2024-02-08T16:34:09.280" v="80"/>
          <ac:spMkLst>
            <pc:docMk/>
            <pc:sldMk cId="211948113" sldId="337"/>
            <ac:spMk id="6" creationId="{6F6CC64F-800B-0B88-04E5-4BEB42905CE0}"/>
          </ac:spMkLst>
        </pc:spChg>
        <pc:spChg chg="del">
          <ac:chgData name="Rogers, Amanda (OST)" userId="S::amanda.rogers@ad.dot.gov::75b2722b-6ec1-4bf8-8a17-c8c89c83c278" providerId="AD" clId="Web-{9F58CBDC-78C5-1B25-9D4D-C9F831C81DB9}" dt="2024-02-08T16:34:05.733" v="77"/>
          <ac:spMkLst>
            <pc:docMk/>
            <pc:sldMk cId="211948113" sldId="337"/>
            <ac:spMk id="10" creationId="{B4BF1869-CCC5-C1BD-B9EE-B5E76757895C}"/>
          </ac:spMkLst>
        </pc:spChg>
        <pc:spChg chg="add mod">
          <ac:chgData name="Rogers, Amanda (OST)" userId="S::amanda.rogers@ad.dot.gov::75b2722b-6ec1-4bf8-8a17-c8c89c83c278" providerId="AD" clId="Web-{9F58CBDC-78C5-1B25-9D4D-C9F831C81DB9}" dt="2024-02-08T16:37:37.268" v="173" actId="14100"/>
          <ac:spMkLst>
            <pc:docMk/>
            <pc:sldMk cId="211948113" sldId="337"/>
            <ac:spMk id="12" creationId="{AC861EFB-6EB4-479D-626E-1CD14625D74B}"/>
          </ac:spMkLst>
        </pc:spChg>
        <pc:grpChg chg="add mod">
          <ac:chgData name="Rogers, Amanda (OST)" userId="S::amanda.rogers@ad.dot.gov::75b2722b-6ec1-4bf8-8a17-c8c89c83c278" providerId="AD" clId="Web-{9F58CBDC-78C5-1B25-9D4D-C9F831C81DB9}" dt="2024-02-08T16:37:54.830" v="179" actId="1076"/>
          <ac:grpSpMkLst>
            <pc:docMk/>
            <pc:sldMk cId="211948113" sldId="337"/>
            <ac:grpSpMk id="13" creationId="{2C14E6CD-E2D6-3FE2-02A7-51538349D839}"/>
          </ac:grpSpMkLst>
        </pc:grpChg>
        <pc:picChg chg="add mod">
          <ac:chgData name="Rogers, Amanda (OST)" userId="S::amanda.rogers@ad.dot.gov::75b2722b-6ec1-4bf8-8a17-c8c89c83c278" providerId="AD" clId="Web-{9F58CBDC-78C5-1B25-9D4D-C9F831C81DB9}" dt="2024-02-08T16:37:56.705" v="180" actId="1076"/>
          <ac:picMkLst>
            <pc:docMk/>
            <pc:sldMk cId="211948113" sldId="337"/>
            <ac:picMk id="2" creationId="{BB76B39B-F61E-FFDF-10D6-63CFCA5A6706}"/>
          </ac:picMkLst>
        </pc:picChg>
        <pc:picChg chg="add mod">
          <ac:chgData name="Rogers, Amanda (OST)" userId="S::amanda.rogers@ad.dot.gov::75b2722b-6ec1-4bf8-8a17-c8c89c83c278" providerId="AD" clId="Web-{9F58CBDC-78C5-1B25-9D4D-C9F831C81DB9}" dt="2024-02-08T16:36:56.407" v="164" actId="1076"/>
          <ac:picMkLst>
            <pc:docMk/>
            <pc:sldMk cId="211948113" sldId="337"/>
            <ac:picMk id="3" creationId="{010D6186-084E-6C18-35D7-C2CC9A9EE59B}"/>
          </ac:picMkLst>
        </pc:picChg>
        <pc:picChg chg="add mod">
          <ac:chgData name="Rogers, Amanda (OST)" userId="S::amanda.rogers@ad.dot.gov::75b2722b-6ec1-4bf8-8a17-c8c89c83c278" providerId="AD" clId="Web-{9F58CBDC-78C5-1B25-9D4D-C9F831C81DB9}" dt="2024-02-08T16:36:50.345" v="161" actId="1076"/>
          <ac:picMkLst>
            <pc:docMk/>
            <pc:sldMk cId="211948113" sldId="337"/>
            <ac:picMk id="5" creationId="{3B5256F1-8F16-3627-1558-0D66DFA3F65A}"/>
          </ac:picMkLst>
        </pc:picChg>
        <pc:picChg chg="add mod">
          <ac:chgData name="Rogers, Amanda (OST)" userId="S::amanda.rogers@ad.dot.gov::75b2722b-6ec1-4bf8-8a17-c8c89c83c278" providerId="AD" clId="Web-{9F58CBDC-78C5-1B25-9D4D-C9F831C81DB9}" dt="2024-02-08T16:36:40.438" v="158" actId="1076"/>
          <ac:picMkLst>
            <pc:docMk/>
            <pc:sldMk cId="211948113" sldId="337"/>
            <ac:picMk id="7" creationId="{414DDFF2-7730-861C-903A-D3E2BA14118A}"/>
          </ac:picMkLst>
        </pc:picChg>
        <pc:picChg chg="del">
          <ac:chgData name="Rogers, Amanda (OST)" userId="S::amanda.rogers@ad.dot.gov::75b2722b-6ec1-4bf8-8a17-c8c89c83c278" providerId="AD" clId="Web-{9F58CBDC-78C5-1B25-9D4D-C9F831C81DB9}" dt="2024-02-08T16:34:09.217" v="78"/>
          <ac:picMkLst>
            <pc:docMk/>
            <pc:sldMk cId="211948113" sldId="337"/>
            <ac:picMk id="8" creationId="{835D4D25-061B-44B6-456B-12955293D0C6}"/>
          </ac:picMkLst>
        </pc:picChg>
        <pc:picChg chg="add mod">
          <ac:chgData name="Rogers, Amanda (OST)" userId="S::amanda.rogers@ad.dot.gov::75b2722b-6ec1-4bf8-8a17-c8c89c83c278" providerId="AD" clId="Web-{9F58CBDC-78C5-1B25-9D4D-C9F831C81DB9}" dt="2024-02-08T16:36:30.516" v="154" actId="1076"/>
          <ac:picMkLst>
            <pc:docMk/>
            <pc:sldMk cId="211948113" sldId="337"/>
            <ac:picMk id="9" creationId="{F4C24118-976C-D7D0-8F43-855C9BD06E67}"/>
          </ac:picMkLst>
        </pc:picChg>
        <pc:picChg chg="add mod">
          <ac:chgData name="Rogers, Amanda (OST)" userId="S::amanda.rogers@ad.dot.gov::75b2722b-6ec1-4bf8-8a17-c8c89c83c278" providerId="AD" clId="Web-{9F58CBDC-78C5-1B25-9D4D-C9F831C81DB9}" dt="2024-02-08T16:36:20.688" v="151" actId="1076"/>
          <ac:picMkLst>
            <pc:docMk/>
            <pc:sldMk cId="211948113" sldId="337"/>
            <ac:picMk id="11" creationId="{387B21C7-8B40-1563-5379-A76F5FA152E3}"/>
          </ac:picMkLst>
        </pc:picChg>
      </pc:sldChg>
      <pc:sldChg chg="addSp delSp modSp add del replId">
        <pc:chgData name="Rogers, Amanda (OST)" userId="S::amanda.rogers@ad.dot.gov::75b2722b-6ec1-4bf8-8a17-c8c89c83c278" providerId="AD" clId="Web-{9F58CBDC-78C5-1B25-9D4D-C9F831C81DB9}" dt="2024-02-08T16:31:12.089" v="65"/>
        <pc:sldMkLst>
          <pc:docMk/>
          <pc:sldMk cId="4200471934" sldId="337"/>
        </pc:sldMkLst>
        <pc:spChg chg="del">
          <ac:chgData name="Rogers, Amanda (OST)" userId="S::amanda.rogers@ad.dot.gov::75b2722b-6ec1-4bf8-8a17-c8c89c83c278" providerId="AD" clId="Web-{9F58CBDC-78C5-1B25-9D4D-C9F831C81DB9}" dt="2024-02-08T16:25:40.943" v="63"/>
          <ac:spMkLst>
            <pc:docMk/>
            <pc:sldMk cId="4200471934" sldId="337"/>
            <ac:spMk id="5" creationId="{C940792A-6C98-465C-98D1-ADFA5059B1EB}"/>
          </ac:spMkLst>
        </pc:spChg>
        <pc:spChg chg="mod">
          <ac:chgData name="Rogers, Amanda (OST)" userId="S::amanda.rogers@ad.dot.gov::75b2722b-6ec1-4bf8-8a17-c8c89c83c278" providerId="AD" clId="Web-{9F58CBDC-78C5-1B25-9D4D-C9F831C81DB9}" dt="2024-02-08T16:24:00.957" v="34" actId="20577"/>
          <ac:spMkLst>
            <pc:docMk/>
            <pc:sldMk cId="4200471934" sldId="337"/>
            <ac:spMk id="6" creationId="{5CD4E5F7-DC4C-4CCF-B4A2-FCC07ECA777F}"/>
          </ac:spMkLst>
        </pc:spChg>
        <pc:spChg chg="add mod">
          <ac:chgData name="Rogers, Amanda (OST)" userId="S::amanda.rogers@ad.dot.gov::75b2722b-6ec1-4bf8-8a17-c8c89c83c278" providerId="AD" clId="Web-{9F58CBDC-78C5-1B25-9D4D-C9F831C81DB9}" dt="2024-02-08T16:25:33.677" v="62" actId="1076"/>
          <ac:spMkLst>
            <pc:docMk/>
            <pc:sldMk cId="4200471934" sldId="337"/>
            <ac:spMk id="37" creationId="{4D3C8F47-3CCA-40AD-2432-DD2EC94001EE}"/>
          </ac:spMkLst>
        </pc:spChg>
        <pc:graphicFrameChg chg="del">
          <ac:chgData name="Rogers, Amanda (OST)" userId="S::amanda.rogers@ad.dot.gov::75b2722b-6ec1-4bf8-8a17-c8c89c83c278" providerId="AD" clId="Web-{9F58CBDC-78C5-1B25-9D4D-C9F831C81DB9}" dt="2024-02-08T16:23:51.394" v="21"/>
          <ac:graphicFrameMkLst>
            <pc:docMk/>
            <pc:sldMk cId="4200471934" sldId="337"/>
            <ac:graphicFrameMk id="3" creationId="{0CF08D1A-48A3-490C-BD60-CD8375A19537}"/>
          </ac:graphicFrameMkLst>
        </pc:graphicFrameChg>
      </pc:sldChg>
    </pc:docChg>
  </pc:docChgLst>
  <pc:docChgLst>
    <pc:chgData name="Rogers, Amanda (OST)" userId="S::amanda.rogers@ad.dot.gov::75b2722b-6ec1-4bf8-8a17-c8c89c83c278" providerId="AD" clId="Web-{1B05507E-2306-0051-9580-4E9D193DBC7E}"/>
    <pc:docChg chg="modSld">
      <pc:chgData name="Rogers, Amanda (OST)" userId="S::amanda.rogers@ad.dot.gov::75b2722b-6ec1-4bf8-8a17-c8c89c83c278" providerId="AD" clId="Web-{1B05507E-2306-0051-9580-4E9D193DBC7E}" dt="2023-12-05T21:34:59.601" v="0" actId="14100"/>
      <pc:docMkLst>
        <pc:docMk/>
      </pc:docMkLst>
      <pc:sldChg chg="modSp">
        <pc:chgData name="Rogers, Amanda (OST)" userId="S::amanda.rogers@ad.dot.gov::75b2722b-6ec1-4bf8-8a17-c8c89c83c278" providerId="AD" clId="Web-{1B05507E-2306-0051-9580-4E9D193DBC7E}" dt="2023-12-05T21:34:59.601" v="0" actId="14100"/>
        <pc:sldMkLst>
          <pc:docMk/>
          <pc:sldMk cId="1740509988" sldId="295"/>
        </pc:sldMkLst>
        <pc:spChg chg="mod">
          <ac:chgData name="Rogers, Amanda (OST)" userId="S::amanda.rogers@ad.dot.gov::75b2722b-6ec1-4bf8-8a17-c8c89c83c278" providerId="AD" clId="Web-{1B05507E-2306-0051-9580-4E9D193DBC7E}" dt="2023-12-05T21:34:59.601" v="0" actId="14100"/>
          <ac:spMkLst>
            <pc:docMk/>
            <pc:sldMk cId="1740509988" sldId="295"/>
            <ac:spMk id="4" creationId="{D2970A47-2D2F-F555-8020-773F16871AB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5FD8A9-40F8-40BA-9D92-A40AD3A47C12}" type="doc">
      <dgm:prSet loTypeId="urn:microsoft.com/office/officeart/2008/layout/VerticalCurvedList" loCatId="list" qsTypeId="urn:microsoft.com/office/officeart/2005/8/quickstyle/simple1" qsCatId="simple" csTypeId="urn:microsoft.com/office/officeart/2005/8/colors/accent0_1" csCatId="mainScheme" phldr="1"/>
      <dgm:spPr/>
    </dgm:pt>
    <dgm:pt modelId="{D2259E65-C555-4856-AAFB-EB069F6F13B7}">
      <dgm:prSet phldrT="[Text]" custT="1"/>
      <dgm:spPr>
        <a:xfrm>
          <a:off x="468491" y="310683"/>
          <a:ext cx="7406128" cy="621764"/>
        </a:xfrm>
        <a:prstGeom prst="rect">
          <a:avLst/>
        </a:prstGeom>
      </dgm:spPr>
      <dgm:t>
        <a:bodyPr/>
        <a:lstStyle/>
        <a:p>
          <a:pPr>
            <a:buNone/>
          </a:pPr>
          <a:r>
            <a:rPr lang="en-US" sz="2800" dirty="0">
              <a:latin typeface="+mn-lt"/>
              <a:ea typeface="+mn-ea"/>
              <a:cs typeface="+mn-cs"/>
            </a:rPr>
            <a:t>Introduction to ROUTES</a:t>
          </a:r>
          <a:endParaRPr lang="en-US" sz="2800" i="1" dirty="0">
            <a:latin typeface="+mn-lt"/>
            <a:ea typeface="+mn-ea"/>
            <a:cs typeface="+mn-cs"/>
          </a:endParaRPr>
        </a:p>
      </dgm:t>
    </dgm:pt>
    <dgm:pt modelId="{AD4C2BB1-2EDB-4E1D-A170-3C73DCD7C991}" type="parTrans" cxnId="{00BB9C9B-5366-4031-8504-F47B1333F9CC}">
      <dgm:prSet/>
      <dgm:spPr/>
      <dgm:t>
        <a:bodyPr/>
        <a:lstStyle/>
        <a:p>
          <a:endParaRPr lang="en-US"/>
        </a:p>
      </dgm:t>
    </dgm:pt>
    <dgm:pt modelId="{88E55048-6254-499A-A723-2FA385BD895A}" type="sibTrans" cxnId="{00BB9C9B-5366-4031-8504-F47B1333F9CC}">
      <dgm:prSet/>
      <dgm:spPr>
        <a:xfrm>
          <a:off x="-5622220" y="-860673"/>
          <a:ext cx="6693869" cy="6693869"/>
        </a:xfrm>
        <a:prstGeom prst="blockArc">
          <a:avLst>
            <a:gd name="adj1" fmla="val 18900000"/>
            <a:gd name="adj2" fmla="val 2700000"/>
            <a:gd name="adj3" fmla="val 323"/>
          </a:avLst>
        </a:prstGeom>
      </dgm:spPr>
      <dgm:t>
        <a:bodyPr/>
        <a:lstStyle/>
        <a:p>
          <a:endParaRPr lang="en-US">
            <a:latin typeface="+mn-lt"/>
          </a:endParaRPr>
        </a:p>
      </dgm:t>
    </dgm:pt>
    <dgm:pt modelId="{AE5DBD68-ED48-4518-8430-95F0C4D7B681}">
      <dgm:prSet phldrT="[Text]" custT="1"/>
      <dgm:spPr>
        <a:xfrm>
          <a:off x="468491" y="310683"/>
          <a:ext cx="7406128" cy="621764"/>
        </a:xfrm>
      </dgm:spPr>
      <dgm:t>
        <a:bodyPr/>
        <a:lstStyle/>
        <a:p>
          <a:pPr rtl="0">
            <a:lnSpc>
              <a:spcPct val="100000"/>
            </a:lnSpc>
            <a:spcAft>
              <a:spcPts val="0"/>
            </a:spcAft>
            <a:buNone/>
          </a:pPr>
          <a:r>
            <a:rPr lang="en-US" sz="2800" i="0" dirty="0">
              <a:latin typeface="+mn-lt"/>
              <a:ea typeface="+mn-ea"/>
              <a:cs typeface="+mn-cs"/>
            </a:rPr>
            <a:t>Upcoming BIL Rural Funding</a:t>
          </a:r>
        </a:p>
      </dgm:t>
    </dgm:pt>
    <dgm:pt modelId="{47E2174D-E994-47FD-BDCD-92DD30CA1C2A}" type="parTrans" cxnId="{AC45978B-4E14-459E-903E-EDB3B6E2056B}">
      <dgm:prSet/>
      <dgm:spPr/>
      <dgm:t>
        <a:bodyPr/>
        <a:lstStyle/>
        <a:p>
          <a:endParaRPr lang="en-US"/>
        </a:p>
      </dgm:t>
    </dgm:pt>
    <dgm:pt modelId="{6474F869-FAB1-46A2-8213-860CF689F323}" type="sibTrans" cxnId="{AC45978B-4E14-459E-903E-EDB3B6E2056B}">
      <dgm:prSet/>
      <dgm:spPr/>
      <dgm:t>
        <a:bodyPr/>
        <a:lstStyle/>
        <a:p>
          <a:endParaRPr lang="en-US"/>
        </a:p>
      </dgm:t>
    </dgm:pt>
    <dgm:pt modelId="{612A8B5E-3DB1-4481-A3EB-99826035DA21}">
      <dgm:prSet phldrT="[Text]" custT="1"/>
      <dgm:spPr>
        <a:xfrm>
          <a:off x="468491" y="310683"/>
          <a:ext cx="7406128" cy="621764"/>
        </a:xfrm>
      </dgm:spPr>
      <dgm:t>
        <a:bodyPr/>
        <a:lstStyle/>
        <a:p>
          <a:pPr rtl="0">
            <a:lnSpc>
              <a:spcPct val="100000"/>
            </a:lnSpc>
            <a:spcAft>
              <a:spcPts val="0"/>
            </a:spcAft>
            <a:buNone/>
          </a:pPr>
          <a:r>
            <a:rPr lang="en-US" sz="2800" i="0" dirty="0">
              <a:latin typeface="+mn-lt"/>
              <a:ea typeface="+mn-ea"/>
              <a:cs typeface="+mn-cs"/>
            </a:rPr>
            <a:t>Resources and Technical Assistance</a:t>
          </a:r>
        </a:p>
      </dgm:t>
    </dgm:pt>
    <dgm:pt modelId="{5B66514A-1F49-4E87-AB76-3A6B3AE07C38}" type="parTrans" cxnId="{8F2486B1-27BB-4E75-BC0C-3437812AB87D}">
      <dgm:prSet/>
      <dgm:spPr/>
      <dgm:t>
        <a:bodyPr/>
        <a:lstStyle/>
        <a:p>
          <a:endParaRPr lang="en-US"/>
        </a:p>
      </dgm:t>
    </dgm:pt>
    <dgm:pt modelId="{B96CC2F8-1E7E-4A1F-B123-DDC37AD6D038}" type="sibTrans" cxnId="{8F2486B1-27BB-4E75-BC0C-3437812AB87D}">
      <dgm:prSet/>
      <dgm:spPr/>
      <dgm:t>
        <a:bodyPr/>
        <a:lstStyle/>
        <a:p>
          <a:endParaRPr lang="en-US"/>
        </a:p>
      </dgm:t>
    </dgm:pt>
    <dgm:pt modelId="{F7D004BA-423D-4AAF-A125-899A0C4FB138}" type="pres">
      <dgm:prSet presAssocID="{C15FD8A9-40F8-40BA-9D92-A40AD3A47C12}" presName="Name0" presStyleCnt="0">
        <dgm:presLayoutVars>
          <dgm:chMax val="7"/>
          <dgm:chPref val="7"/>
          <dgm:dir/>
        </dgm:presLayoutVars>
      </dgm:prSet>
      <dgm:spPr/>
    </dgm:pt>
    <dgm:pt modelId="{035DB208-1E23-4361-A4ED-CF9DD510AA66}" type="pres">
      <dgm:prSet presAssocID="{C15FD8A9-40F8-40BA-9D92-A40AD3A47C12}" presName="Name1" presStyleCnt="0"/>
      <dgm:spPr/>
    </dgm:pt>
    <dgm:pt modelId="{4CE64973-2BB8-4897-A5AF-58AAB3804A47}" type="pres">
      <dgm:prSet presAssocID="{C15FD8A9-40F8-40BA-9D92-A40AD3A47C12}" presName="cycle" presStyleCnt="0"/>
      <dgm:spPr/>
    </dgm:pt>
    <dgm:pt modelId="{0AC3658C-9D1E-499E-8FAE-38D7DDBFD81A}" type="pres">
      <dgm:prSet presAssocID="{C15FD8A9-40F8-40BA-9D92-A40AD3A47C12}" presName="srcNode" presStyleLbl="node1" presStyleIdx="0" presStyleCnt="3"/>
      <dgm:spPr/>
    </dgm:pt>
    <dgm:pt modelId="{08082483-3DB2-46B1-BFAD-CF8FB2FC3A12}" type="pres">
      <dgm:prSet presAssocID="{C15FD8A9-40F8-40BA-9D92-A40AD3A47C12}" presName="conn" presStyleLbl="parChTrans1D2" presStyleIdx="0" presStyleCnt="1"/>
      <dgm:spPr/>
    </dgm:pt>
    <dgm:pt modelId="{1889D58A-A6ED-4F3E-A915-E329CFA06C57}" type="pres">
      <dgm:prSet presAssocID="{C15FD8A9-40F8-40BA-9D92-A40AD3A47C12}" presName="extraNode" presStyleLbl="node1" presStyleIdx="0" presStyleCnt="3"/>
      <dgm:spPr/>
    </dgm:pt>
    <dgm:pt modelId="{DBB09B59-C67B-488E-AE46-EF796C86C731}" type="pres">
      <dgm:prSet presAssocID="{C15FD8A9-40F8-40BA-9D92-A40AD3A47C12}" presName="dstNode" presStyleLbl="node1" presStyleIdx="0" presStyleCnt="3"/>
      <dgm:spPr/>
    </dgm:pt>
    <dgm:pt modelId="{5B9436EE-1D49-4781-88EA-442BF3F28FE6}" type="pres">
      <dgm:prSet presAssocID="{D2259E65-C555-4856-AAFB-EB069F6F13B7}" presName="text_1" presStyleLbl="node1" presStyleIdx="0" presStyleCnt="3">
        <dgm:presLayoutVars>
          <dgm:bulletEnabled val="1"/>
        </dgm:presLayoutVars>
      </dgm:prSet>
      <dgm:spPr/>
    </dgm:pt>
    <dgm:pt modelId="{9A5234CF-05C1-49A4-9E00-D8E9936B9C3A}" type="pres">
      <dgm:prSet presAssocID="{D2259E65-C555-4856-AAFB-EB069F6F13B7}" presName="accent_1" presStyleCnt="0"/>
      <dgm:spPr/>
    </dgm:pt>
    <dgm:pt modelId="{99325BDB-5E26-4AD8-ABA8-6269C5E6E337}" type="pres">
      <dgm:prSet presAssocID="{D2259E65-C555-4856-AAFB-EB069F6F13B7}" presName="accentRepeatNode" presStyleLbl="solidFgAcc1" presStyleIdx="0" presStyleCnt="3"/>
      <dgm:spPr>
        <a:xfrm>
          <a:off x="79888" y="232962"/>
          <a:ext cx="777205" cy="777205"/>
        </a:xfrm>
        <a:prstGeom prst="ellipse">
          <a:avLst/>
        </a:prstGeom>
      </dgm:spPr>
    </dgm:pt>
    <dgm:pt modelId="{6FAE3735-D621-4322-85A3-DB98166B65C7}" type="pres">
      <dgm:prSet presAssocID="{612A8B5E-3DB1-4481-A3EB-99826035DA21}" presName="text_2" presStyleLbl="node1" presStyleIdx="1" presStyleCnt="3">
        <dgm:presLayoutVars>
          <dgm:bulletEnabled val="1"/>
        </dgm:presLayoutVars>
      </dgm:prSet>
      <dgm:spPr/>
    </dgm:pt>
    <dgm:pt modelId="{732E47A8-F20A-41EE-AE69-059896D7C82F}" type="pres">
      <dgm:prSet presAssocID="{612A8B5E-3DB1-4481-A3EB-99826035DA21}" presName="accent_2" presStyleCnt="0"/>
      <dgm:spPr/>
    </dgm:pt>
    <dgm:pt modelId="{EA6A389C-5BB6-487B-B89E-A3DE4D85E963}" type="pres">
      <dgm:prSet presAssocID="{612A8B5E-3DB1-4481-A3EB-99826035DA21}" presName="accentRepeatNode" presStyleLbl="solidFgAcc1" presStyleIdx="1" presStyleCnt="3"/>
      <dgm:spPr/>
    </dgm:pt>
    <dgm:pt modelId="{DF8D65A5-76F5-47DA-B955-A7A2267B345E}" type="pres">
      <dgm:prSet presAssocID="{AE5DBD68-ED48-4518-8430-95F0C4D7B681}" presName="text_3" presStyleLbl="node1" presStyleIdx="2" presStyleCnt="3">
        <dgm:presLayoutVars>
          <dgm:bulletEnabled val="1"/>
        </dgm:presLayoutVars>
      </dgm:prSet>
      <dgm:spPr/>
    </dgm:pt>
    <dgm:pt modelId="{7EA654C9-18F5-4C0D-825E-E4B0B7A4680C}" type="pres">
      <dgm:prSet presAssocID="{AE5DBD68-ED48-4518-8430-95F0C4D7B681}" presName="accent_3" presStyleCnt="0"/>
      <dgm:spPr/>
    </dgm:pt>
    <dgm:pt modelId="{2A13B155-B9C1-45AC-9D32-D05CAAC6DC86}" type="pres">
      <dgm:prSet presAssocID="{AE5DBD68-ED48-4518-8430-95F0C4D7B681}" presName="accentRepeatNode" presStyleLbl="solidFgAcc1" presStyleIdx="2" presStyleCnt="3"/>
      <dgm:spPr/>
    </dgm:pt>
  </dgm:ptLst>
  <dgm:cxnLst>
    <dgm:cxn modelId="{09395409-6F81-4CEC-832B-4882CDEE6578}" type="presOf" srcId="{AE5DBD68-ED48-4518-8430-95F0C4D7B681}" destId="{DF8D65A5-76F5-47DA-B955-A7A2267B345E}" srcOrd="0" destOrd="0" presId="urn:microsoft.com/office/officeart/2008/layout/VerticalCurvedList"/>
    <dgm:cxn modelId="{AC45978B-4E14-459E-903E-EDB3B6E2056B}" srcId="{C15FD8A9-40F8-40BA-9D92-A40AD3A47C12}" destId="{AE5DBD68-ED48-4518-8430-95F0C4D7B681}" srcOrd="2" destOrd="0" parTransId="{47E2174D-E994-47FD-BDCD-92DD30CA1C2A}" sibTransId="{6474F869-FAB1-46A2-8213-860CF689F323}"/>
    <dgm:cxn modelId="{1B8C1B91-24CD-4A5D-AB41-EE626476B3DC}" type="presOf" srcId="{88E55048-6254-499A-A723-2FA385BD895A}" destId="{08082483-3DB2-46B1-BFAD-CF8FB2FC3A12}" srcOrd="0" destOrd="0" presId="urn:microsoft.com/office/officeart/2008/layout/VerticalCurvedList"/>
    <dgm:cxn modelId="{5781FE94-5DA7-49B4-AA8B-964DB9672EFC}" type="presOf" srcId="{612A8B5E-3DB1-4481-A3EB-99826035DA21}" destId="{6FAE3735-D621-4322-85A3-DB98166B65C7}" srcOrd="0" destOrd="0" presId="urn:microsoft.com/office/officeart/2008/layout/VerticalCurvedList"/>
    <dgm:cxn modelId="{00BB9C9B-5366-4031-8504-F47B1333F9CC}" srcId="{C15FD8A9-40F8-40BA-9D92-A40AD3A47C12}" destId="{D2259E65-C555-4856-AAFB-EB069F6F13B7}" srcOrd="0" destOrd="0" parTransId="{AD4C2BB1-2EDB-4E1D-A170-3C73DCD7C991}" sibTransId="{88E55048-6254-499A-A723-2FA385BD895A}"/>
    <dgm:cxn modelId="{159FAE9E-18B1-4C22-82A9-2F987B80D61F}" type="presOf" srcId="{D2259E65-C555-4856-AAFB-EB069F6F13B7}" destId="{5B9436EE-1D49-4781-88EA-442BF3F28FE6}" srcOrd="0" destOrd="0" presId="urn:microsoft.com/office/officeart/2008/layout/VerticalCurvedList"/>
    <dgm:cxn modelId="{8F2486B1-27BB-4E75-BC0C-3437812AB87D}" srcId="{C15FD8A9-40F8-40BA-9D92-A40AD3A47C12}" destId="{612A8B5E-3DB1-4481-A3EB-99826035DA21}" srcOrd="1" destOrd="0" parTransId="{5B66514A-1F49-4E87-AB76-3A6B3AE07C38}" sibTransId="{B96CC2F8-1E7E-4A1F-B123-DDC37AD6D038}"/>
    <dgm:cxn modelId="{CC93F1E2-B5B1-42D8-803E-C6A6B72FDA57}" type="presOf" srcId="{C15FD8A9-40F8-40BA-9D92-A40AD3A47C12}" destId="{F7D004BA-423D-4AAF-A125-899A0C4FB138}" srcOrd="0" destOrd="0" presId="urn:microsoft.com/office/officeart/2008/layout/VerticalCurvedList"/>
    <dgm:cxn modelId="{E996F9F2-F396-423D-8F26-994EC663D94A}" type="presParOf" srcId="{F7D004BA-423D-4AAF-A125-899A0C4FB138}" destId="{035DB208-1E23-4361-A4ED-CF9DD510AA66}" srcOrd="0" destOrd="0" presId="urn:microsoft.com/office/officeart/2008/layout/VerticalCurvedList"/>
    <dgm:cxn modelId="{369D6FA0-3908-453B-AE05-75F1DE7FA35E}" type="presParOf" srcId="{035DB208-1E23-4361-A4ED-CF9DD510AA66}" destId="{4CE64973-2BB8-4897-A5AF-58AAB3804A47}" srcOrd="0" destOrd="0" presId="urn:microsoft.com/office/officeart/2008/layout/VerticalCurvedList"/>
    <dgm:cxn modelId="{2C64B702-9D77-44A5-AA70-9F8A4E53B679}" type="presParOf" srcId="{4CE64973-2BB8-4897-A5AF-58AAB3804A47}" destId="{0AC3658C-9D1E-499E-8FAE-38D7DDBFD81A}" srcOrd="0" destOrd="0" presId="urn:microsoft.com/office/officeart/2008/layout/VerticalCurvedList"/>
    <dgm:cxn modelId="{58B9C5D7-F5EE-4F81-9B70-72A40CD23ACA}" type="presParOf" srcId="{4CE64973-2BB8-4897-A5AF-58AAB3804A47}" destId="{08082483-3DB2-46B1-BFAD-CF8FB2FC3A12}" srcOrd="1" destOrd="0" presId="urn:microsoft.com/office/officeart/2008/layout/VerticalCurvedList"/>
    <dgm:cxn modelId="{C1389E47-5CFC-42BF-A489-EC059752C7D1}" type="presParOf" srcId="{4CE64973-2BB8-4897-A5AF-58AAB3804A47}" destId="{1889D58A-A6ED-4F3E-A915-E329CFA06C57}" srcOrd="2" destOrd="0" presId="urn:microsoft.com/office/officeart/2008/layout/VerticalCurvedList"/>
    <dgm:cxn modelId="{709B7133-EB62-4F80-896A-2B22EA3749FD}" type="presParOf" srcId="{4CE64973-2BB8-4897-A5AF-58AAB3804A47}" destId="{DBB09B59-C67B-488E-AE46-EF796C86C731}" srcOrd="3" destOrd="0" presId="urn:microsoft.com/office/officeart/2008/layout/VerticalCurvedList"/>
    <dgm:cxn modelId="{17DBE295-BEDC-4858-878D-72169E47FC10}" type="presParOf" srcId="{035DB208-1E23-4361-A4ED-CF9DD510AA66}" destId="{5B9436EE-1D49-4781-88EA-442BF3F28FE6}" srcOrd="1" destOrd="0" presId="urn:microsoft.com/office/officeart/2008/layout/VerticalCurvedList"/>
    <dgm:cxn modelId="{98D2B660-890E-42D6-B11A-BB1654458ED2}" type="presParOf" srcId="{035DB208-1E23-4361-A4ED-CF9DD510AA66}" destId="{9A5234CF-05C1-49A4-9E00-D8E9936B9C3A}" srcOrd="2" destOrd="0" presId="urn:microsoft.com/office/officeart/2008/layout/VerticalCurvedList"/>
    <dgm:cxn modelId="{CE5637EF-F33C-4FD4-A208-8D6FD52D442E}" type="presParOf" srcId="{9A5234CF-05C1-49A4-9E00-D8E9936B9C3A}" destId="{99325BDB-5E26-4AD8-ABA8-6269C5E6E337}" srcOrd="0" destOrd="0" presId="urn:microsoft.com/office/officeart/2008/layout/VerticalCurvedList"/>
    <dgm:cxn modelId="{5A7FF693-1EAD-44DC-B92A-1750D8E331C8}" type="presParOf" srcId="{035DB208-1E23-4361-A4ED-CF9DD510AA66}" destId="{6FAE3735-D621-4322-85A3-DB98166B65C7}" srcOrd="3" destOrd="0" presId="urn:microsoft.com/office/officeart/2008/layout/VerticalCurvedList"/>
    <dgm:cxn modelId="{725E924D-083C-4466-BD83-829DF322C364}" type="presParOf" srcId="{035DB208-1E23-4361-A4ED-CF9DD510AA66}" destId="{732E47A8-F20A-41EE-AE69-059896D7C82F}" srcOrd="4" destOrd="0" presId="urn:microsoft.com/office/officeart/2008/layout/VerticalCurvedList"/>
    <dgm:cxn modelId="{6EE76BD6-6FE4-4D69-8039-0E34ACE9F4E6}" type="presParOf" srcId="{732E47A8-F20A-41EE-AE69-059896D7C82F}" destId="{EA6A389C-5BB6-487B-B89E-A3DE4D85E963}" srcOrd="0" destOrd="0" presId="urn:microsoft.com/office/officeart/2008/layout/VerticalCurvedList"/>
    <dgm:cxn modelId="{50289F51-AB23-4FD1-8485-2C7A14F4371E}" type="presParOf" srcId="{035DB208-1E23-4361-A4ED-CF9DD510AA66}" destId="{DF8D65A5-76F5-47DA-B955-A7A2267B345E}" srcOrd="5" destOrd="0" presId="urn:microsoft.com/office/officeart/2008/layout/VerticalCurvedList"/>
    <dgm:cxn modelId="{0FBE27F0-F396-4A05-ABFB-921DFBAB6C94}" type="presParOf" srcId="{035DB208-1E23-4361-A4ED-CF9DD510AA66}" destId="{7EA654C9-18F5-4C0D-825E-E4B0B7A4680C}" srcOrd="6" destOrd="0" presId="urn:microsoft.com/office/officeart/2008/layout/VerticalCurvedList"/>
    <dgm:cxn modelId="{5FBDE040-B9B3-4FF0-9B05-FC4D0EC6A599}" type="presParOf" srcId="{7EA654C9-18F5-4C0D-825E-E4B0B7A4680C}" destId="{2A13B155-B9C1-45AC-9D32-D05CAAC6DC8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082483-3DB2-46B1-BFAD-CF8FB2FC3A12}">
      <dsp:nvSpPr>
        <dsp:cNvPr id="0" name=""/>
        <dsp:cNvSpPr/>
      </dsp:nvSpPr>
      <dsp:spPr>
        <a:xfrm>
          <a:off x="-5621306" y="-860673"/>
          <a:ext cx="6693869" cy="6693869"/>
        </a:xfrm>
        <a:prstGeom prst="blockArc">
          <a:avLst>
            <a:gd name="adj1" fmla="val 18900000"/>
            <a:gd name="adj2" fmla="val 2700000"/>
            <a:gd name="adj3" fmla="val 323"/>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9436EE-1D49-4781-88EA-442BF3F28FE6}">
      <dsp:nvSpPr>
        <dsp:cNvPr id="0" name=""/>
        <dsp:cNvSpPr/>
      </dsp:nvSpPr>
      <dsp:spPr>
        <a:xfrm>
          <a:off x="690186" y="497252"/>
          <a:ext cx="8022179" cy="99450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9388" tIns="71120" rIns="71120" bIns="7112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n-lt"/>
              <a:ea typeface="+mn-ea"/>
              <a:cs typeface="+mn-cs"/>
            </a:rPr>
            <a:t>Introduction to ROUTES</a:t>
          </a:r>
          <a:endParaRPr lang="en-US" sz="2800" i="1" kern="1200" dirty="0">
            <a:latin typeface="+mn-lt"/>
            <a:ea typeface="+mn-ea"/>
            <a:cs typeface="+mn-cs"/>
          </a:endParaRPr>
        </a:p>
      </dsp:txBody>
      <dsp:txXfrm>
        <a:off x="690186" y="497252"/>
        <a:ext cx="8022179" cy="994504"/>
      </dsp:txXfrm>
    </dsp:sp>
    <dsp:sp modelId="{99325BDB-5E26-4AD8-ABA8-6269C5E6E337}">
      <dsp:nvSpPr>
        <dsp:cNvPr id="0" name=""/>
        <dsp:cNvSpPr/>
      </dsp:nvSpPr>
      <dsp:spPr>
        <a:xfrm>
          <a:off x="68620" y="372939"/>
          <a:ext cx="1243130" cy="1243130"/>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AE3735-D621-4322-85A3-DB98166B65C7}">
      <dsp:nvSpPr>
        <dsp:cNvPr id="0" name=""/>
        <dsp:cNvSpPr/>
      </dsp:nvSpPr>
      <dsp:spPr>
        <a:xfrm>
          <a:off x="1051688" y="1989008"/>
          <a:ext cx="7660676" cy="99450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9388" tIns="71120" rIns="71120" bIns="71120" numCol="1" spcCol="1270" anchor="ctr" anchorCtr="0">
          <a:noAutofit/>
        </a:bodyPr>
        <a:lstStyle/>
        <a:p>
          <a:pPr marL="0" lvl="0" indent="0" algn="l" defTabSz="1244600" rtl="0">
            <a:lnSpc>
              <a:spcPct val="100000"/>
            </a:lnSpc>
            <a:spcBef>
              <a:spcPct val="0"/>
            </a:spcBef>
            <a:spcAft>
              <a:spcPts val="0"/>
            </a:spcAft>
            <a:buNone/>
          </a:pPr>
          <a:r>
            <a:rPr lang="en-US" sz="2800" i="0" kern="1200" dirty="0">
              <a:latin typeface="+mn-lt"/>
              <a:ea typeface="+mn-ea"/>
              <a:cs typeface="+mn-cs"/>
            </a:rPr>
            <a:t>Resources and Technical Assistance</a:t>
          </a:r>
        </a:p>
      </dsp:txBody>
      <dsp:txXfrm>
        <a:off x="1051688" y="1989008"/>
        <a:ext cx="7660676" cy="994504"/>
      </dsp:txXfrm>
    </dsp:sp>
    <dsp:sp modelId="{EA6A389C-5BB6-487B-B89E-A3DE4D85E963}">
      <dsp:nvSpPr>
        <dsp:cNvPr id="0" name=""/>
        <dsp:cNvSpPr/>
      </dsp:nvSpPr>
      <dsp:spPr>
        <a:xfrm>
          <a:off x="430123" y="1864695"/>
          <a:ext cx="1243130" cy="1243130"/>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8D65A5-76F5-47DA-B955-A7A2267B345E}">
      <dsp:nvSpPr>
        <dsp:cNvPr id="0" name=""/>
        <dsp:cNvSpPr/>
      </dsp:nvSpPr>
      <dsp:spPr>
        <a:xfrm>
          <a:off x="690186" y="3480765"/>
          <a:ext cx="8022179" cy="994504"/>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9388" tIns="71120" rIns="71120" bIns="71120" numCol="1" spcCol="1270" anchor="ctr" anchorCtr="0">
          <a:noAutofit/>
        </a:bodyPr>
        <a:lstStyle/>
        <a:p>
          <a:pPr marL="0" lvl="0" indent="0" algn="l" defTabSz="1244600" rtl="0">
            <a:lnSpc>
              <a:spcPct val="100000"/>
            </a:lnSpc>
            <a:spcBef>
              <a:spcPct val="0"/>
            </a:spcBef>
            <a:spcAft>
              <a:spcPts val="0"/>
            </a:spcAft>
            <a:buNone/>
          </a:pPr>
          <a:r>
            <a:rPr lang="en-US" sz="2800" i="0" kern="1200" dirty="0">
              <a:latin typeface="+mn-lt"/>
              <a:ea typeface="+mn-ea"/>
              <a:cs typeface="+mn-cs"/>
            </a:rPr>
            <a:t>Upcoming BIL Rural Funding</a:t>
          </a:r>
        </a:p>
      </dsp:txBody>
      <dsp:txXfrm>
        <a:off x="690186" y="3480765"/>
        <a:ext cx="8022179" cy="994504"/>
      </dsp:txXfrm>
    </dsp:sp>
    <dsp:sp modelId="{2A13B155-B9C1-45AC-9D32-D05CAAC6DC86}">
      <dsp:nvSpPr>
        <dsp:cNvPr id="0" name=""/>
        <dsp:cNvSpPr/>
      </dsp:nvSpPr>
      <dsp:spPr>
        <a:xfrm>
          <a:off x="68620" y="3356452"/>
          <a:ext cx="1243130" cy="1243130"/>
        </a:xfrm>
        <a:prstGeom prst="ellipse">
          <a:avLst/>
        </a:prstGeom>
        <a:solidFill>
          <a:schemeClr val="lt1">
            <a:hueOff val="0"/>
            <a:satOff val="0"/>
            <a:lumOff val="0"/>
            <a:alphaOff val="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42914B-4D0F-4C86-872E-652A393F9A67}" type="datetimeFigureOut">
              <a:t>3/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F7D347-CE24-413F-9275-A6CC278AB12A}" type="slidenum">
              <a:t>‹#›</a:t>
            </a:fld>
            <a:endParaRPr lang="en-US"/>
          </a:p>
        </p:txBody>
      </p:sp>
    </p:spTree>
    <p:extLst>
      <p:ext uri="{BB962C8B-B14F-4D97-AF65-F5344CB8AC3E}">
        <p14:creationId xmlns:p14="http://schemas.microsoft.com/office/powerpoint/2010/main" val="4126759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mailto:USDOTassist@dot.gov"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www.transportation.gov/node/469426" TargetMode="External"/><Relationship Id="rId3" Type="http://schemas.openxmlformats.org/officeDocument/2006/relationships/hyperlink" Target="https://www.transportation.gov/node/469396" TargetMode="External"/><Relationship Id="rId7" Type="http://schemas.openxmlformats.org/officeDocument/2006/relationships/hyperlink" Target="https://www.transportation.gov/node/469421"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transportation.gov/node/469416" TargetMode="External"/><Relationship Id="rId5" Type="http://schemas.openxmlformats.org/officeDocument/2006/relationships/hyperlink" Target="https://www.transportation.gov/node/469406" TargetMode="External"/><Relationship Id="rId4" Type="http://schemas.openxmlformats.org/officeDocument/2006/relationships/hyperlink" Target="https://www.transportation.gov/node/46940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C35EA0-C559-440F-BD9B-E97C6FC16F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424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defRPr/>
            </a:pPr>
            <a:r>
              <a:rPr lang="en-US" dirty="0"/>
              <a:t>When you submit your search, it will generate a series of links to individual grant pages that look like this screenshot on the right</a:t>
            </a:r>
          </a:p>
          <a:p>
            <a:pPr>
              <a:defRPr/>
            </a:pPr>
            <a:r>
              <a:rPr lang="en-US" dirty="0"/>
              <a:t>Each grant page can include a brief summary on the grant, funding amounts, information about match requirements, and links and point of contact where you can learn more about that grant .</a:t>
            </a:r>
            <a:endParaRPr lang="en-US"/>
          </a:p>
          <a:p>
            <a:pPr>
              <a:defRPr/>
            </a:pPr>
            <a:r>
              <a:rPr lang="en-US" dirty="0"/>
              <a:t>The specific information that you see on the page will depend on what is available at the time.</a:t>
            </a:r>
            <a:endParaRPr lang="en-US"/>
          </a:p>
          <a:p>
            <a:pPr>
              <a:defRPr/>
            </a:pPr>
            <a:r>
              <a:rPr lang="en-US" dirty="0"/>
              <a:t>It’s important to note that this dashboard is a broad overview of discretionary funding opportunities, secondary to the materials that the original program offices provide.</a:t>
            </a:r>
            <a:endParaRPr lang="en-US"/>
          </a:p>
          <a:p>
            <a:pPr>
              <a:defRPr/>
            </a:pPr>
            <a:r>
              <a:rPr lang="en-US" dirty="0"/>
              <a:t>And that you should always refer to the materials from the specific program offices for the most up-to-date and comprehensive information on that grant. </a:t>
            </a:r>
          </a:p>
        </p:txBody>
      </p:sp>
      <p:sp>
        <p:nvSpPr>
          <p:cNvPr id="4" name="Slide Number Placeholder 3"/>
          <p:cNvSpPr>
            <a:spLocks noGrp="1"/>
          </p:cNvSpPr>
          <p:nvPr>
            <p:ph type="sldNum" sz="quarter" idx="5"/>
          </p:nvPr>
        </p:nvSpPr>
        <p:spPr/>
        <p:txBody>
          <a:bodyPr/>
          <a:lstStyle/>
          <a:p>
            <a:fld id="{AFD125A7-A42D-4DCB-AF1B-29C454C34B68}" type="slidenum">
              <a:rPr lang="en-US" smtClean="0"/>
              <a:t>11</a:t>
            </a:fld>
            <a:endParaRPr lang="en-US"/>
          </a:p>
        </p:txBody>
      </p:sp>
    </p:spTree>
    <p:extLst>
      <p:ext uri="{BB962C8B-B14F-4D97-AF65-F5344CB8AC3E}">
        <p14:creationId xmlns:p14="http://schemas.microsoft.com/office/powerpoint/2010/main" val="1410884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lnSpc>
                <a:spcPct val="120000"/>
              </a:lnSpc>
              <a:spcBef>
                <a:spcPts val="500"/>
              </a:spcBef>
              <a:buFont typeface="Arial"/>
              <a:buChar char="•"/>
            </a:pPr>
            <a:r>
              <a:rPr lang="en-US"/>
              <a:t>DOT Navigator helps communities find grant opportunities and access technical assistance</a:t>
            </a:r>
          </a:p>
          <a:p>
            <a:pPr marL="1085850" lvl="2" indent="-171450">
              <a:lnSpc>
                <a:spcPct val="120000"/>
              </a:lnSpc>
              <a:spcBef>
                <a:spcPts val="500"/>
              </a:spcBef>
              <a:buFont typeface="Arial"/>
              <a:buChar char="•"/>
            </a:pPr>
            <a:r>
              <a:rPr lang="en-US" dirty="0"/>
              <a:t>Contacts to DOT regional/field offices</a:t>
            </a:r>
          </a:p>
          <a:p>
            <a:pPr lvl="2">
              <a:lnSpc>
                <a:spcPct val="120000"/>
              </a:lnSpc>
              <a:spcBef>
                <a:spcPts val="500"/>
              </a:spcBef>
            </a:pPr>
            <a:r>
              <a:rPr lang="en-US" dirty="0"/>
              <a:t>Grant writing resources</a:t>
            </a:r>
            <a:endParaRPr lang="en-US" dirty="0">
              <a:cs typeface="Calibri"/>
            </a:endParaRPr>
          </a:p>
          <a:p>
            <a:pPr marL="1085850" lvl="2" indent="-171450">
              <a:lnSpc>
                <a:spcPct val="120000"/>
              </a:lnSpc>
              <a:spcBef>
                <a:spcPts val="500"/>
              </a:spcBef>
              <a:buFont typeface="Arial,Sans-Serif"/>
              <a:buChar char="•"/>
            </a:pPr>
            <a:r>
              <a:rPr lang="en-US" dirty="0"/>
              <a:t>Various webinars</a:t>
            </a:r>
            <a:endParaRPr lang="en-US" dirty="0">
              <a:cs typeface="Calibri"/>
            </a:endParaRPr>
          </a:p>
          <a:p>
            <a:pPr marL="1085850" lvl="2" indent="-171450">
              <a:lnSpc>
                <a:spcPct val="120000"/>
              </a:lnSpc>
              <a:spcBef>
                <a:spcPts val="500"/>
              </a:spcBef>
              <a:buFont typeface="Arial,Sans-Serif"/>
              <a:buChar char="•"/>
            </a:pPr>
            <a:r>
              <a:rPr lang="en-US" dirty="0"/>
              <a:t>Best practice documents</a:t>
            </a:r>
            <a:endParaRPr lang="en-US" dirty="0">
              <a:cs typeface="Calibri"/>
            </a:endParaRPr>
          </a:p>
          <a:p>
            <a:pPr marL="628650" lvl="1" indent="-171450">
              <a:lnSpc>
                <a:spcPct val="120000"/>
              </a:lnSpc>
              <a:spcBef>
                <a:spcPts val="500"/>
              </a:spcBef>
              <a:buFont typeface="Arial,Sans-Serif"/>
              <a:buChar char="•"/>
            </a:pPr>
            <a:r>
              <a:rPr lang="en-US" dirty="0"/>
              <a:t>Sample Grant Application Resources </a:t>
            </a:r>
          </a:p>
          <a:p>
            <a:pPr marL="1085850" lvl="2" indent="-171450">
              <a:lnSpc>
                <a:spcPct val="120000"/>
              </a:lnSpc>
              <a:spcBef>
                <a:spcPts val="500"/>
              </a:spcBef>
              <a:buFont typeface="Arial,Sans-Serif"/>
              <a:buChar char="•"/>
            </a:pPr>
            <a:r>
              <a:rPr lang="en-US" dirty="0"/>
              <a:t>How to Navigate Grants.gov to Submit Applications</a:t>
            </a:r>
          </a:p>
          <a:p>
            <a:pPr marL="1085850" lvl="2" indent="-171450">
              <a:lnSpc>
                <a:spcPct val="120000"/>
              </a:lnSpc>
              <a:spcBef>
                <a:spcPts val="500"/>
              </a:spcBef>
              <a:buFont typeface="Arial,Sans-Serif"/>
              <a:buChar char="•"/>
            </a:pPr>
            <a:r>
              <a:rPr lang="en-US" dirty="0"/>
              <a:t>Maximizing Award Success: An Introduction to Evaluation Criteria</a:t>
            </a:r>
          </a:p>
          <a:p>
            <a:pPr marL="1143000" indent="-171450">
              <a:lnSpc>
                <a:spcPct val="120000"/>
              </a:lnSpc>
              <a:spcBef>
                <a:spcPts val="1000"/>
              </a:spcBef>
              <a:buFont typeface="Arial,Sans-Serif"/>
              <a:buChar char="•"/>
            </a:pPr>
            <a:r>
              <a:rPr lang="en-US" dirty="0"/>
              <a:t>Understanding Federal Match Requirements </a:t>
            </a:r>
          </a:p>
          <a:p>
            <a:pPr marL="1085850" lvl="2" indent="-171450">
              <a:lnSpc>
                <a:spcPct val="120000"/>
              </a:lnSpc>
              <a:spcBef>
                <a:spcPts val="500"/>
              </a:spcBef>
              <a:buFont typeface="Arial,Sans-Serif"/>
              <a:buChar char="•"/>
            </a:pPr>
            <a:r>
              <a:rPr lang="en-US" dirty="0"/>
              <a:t>What is a Benefit-Cost Analysis? </a:t>
            </a:r>
          </a:p>
          <a:p>
            <a:pPr marL="628650" lvl="1" indent="-171450">
              <a:lnSpc>
                <a:spcPct val="120000"/>
              </a:lnSpc>
              <a:spcBef>
                <a:spcPts val="500"/>
              </a:spcBef>
              <a:buFont typeface="Arial,Sans-Serif"/>
              <a:buChar char="•"/>
            </a:pPr>
            <a:r>
              <a:rPr lang="en-US" dirty="0"/>
              <a:t>Email </a:t>
            </a:r>
            <a:r>
              <a:rPr lang="en-US" dirty="0">
                <a:hlinkClick r:id="rId3"/>
              </a:rPr>
              <a:t>USDOTassist@dot.gov</a:t>
            </a:r>
            <a:r>
              <a:rPr lang="en-US" dirty="0"/>
              <a:t> with additional TA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3D556-1F90-4732-B82A-1E411E5880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1164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065" indent="-266065"/>
            <a:r>
              <a:rPr lang="en-US" dirty="0">
                <a:cs typeface="Calibri"/>
              </a:rPr>
              <a:t>Using maps and data to tell your story </a:t>
            </a:r>
          </a:p>
          <a:p>
            <a:pPr marL="541655" lvl="1" indent="-266065"/>
            <a:r>
              <a:rPr lang="en-US" dirty="0">
                <a:cs typeface="Calibri"/>
              </a:rPr>
              <a:t>Federal </a:t>
            </a:r>
            <a:r>
              <a:rPr lang="en-US" b="1" i="1" dirty="0">
                <a:cs typeface="Calibri"/>
              </a:rPr>
              <a:t>+ state and local data </a:t>
            </a:r>
            <a:r>
              <a:rPr lang="en-US" b="1" i="1" u="sng" dirty="0">
                <a:cs typeface="Calibri"/>
              </a:rPr>
              <a:t>+ qualitative/lived experience</a:t>
            </a:r>
          </a:p>
          <a:p>
            <a:pPr marL="266065" indent="-266065"/>
            <a:r>
              <a:rPr lang="en-US" dirty="0">
                <a:cs typeface="Calibri"/>
              </a:rPr>
              <a:t>Which tools to use when</a:t>
            </a:r>
          </a:p>
          <a:p>
            <a:pPr marL="266065" indent="-266065"/>
            <a:r>
              <a:rPr lang="en-US" dirty="0">
                <a:cs typeface="Calibri"/>
              </a:rPr>
              <a:t>What tools are required when making an application for a federal grant</a:t>
            </a:r>
          </a:p>
          <a:p>
            <a:pPr marL="266065" indent="-266065"/>
            <a:endParaRPr lang="en-US" dirty="0">
              <a:cs typeface="Calibri"/>
            </a:endParaRPr>
          </a:p>
          <a:p>
            <a:r>
              <a:rPr lang="en-US" sz="1200" b="1" dirty="0">
                <a:solidFill>
                  <a:srgbClr val="343F4E"/>
                </a:solidFill>
                <a:latin typeface="Calibri"/>
                <a:ea typeface="Source Sans Pro"/>
                <a:cs typeface="Calibri"/>
              </a:rPr>
              <a:t>General Dataset and Mapping Tools</a:t>
            </a:r>
          </a:p>
          <a:p>
            <a:r>
              <a:rPr lang="en-US" sz="1200" dirty="0">
                <a:solidFill>
                  <a:srgbClr val="005EA2"/>
                </a:solidFill>
                <a:latin typeface="Calibri"/>
                <a:ea typeface="Source Sans Pro"/>
                <a:cs typeface="Calibri"/>
                <a:hlinkClick r:id="rId3"/>
              </a:rPr>
              <a:t>General Dataset and Mapping Tools</a:t>
            </a:r>
            <a:r>
              <a:rPr lang="en-US" sz="1200" dirty="0">
                <a:solidFill>
                  <a:srgbClr val="343F4E"/>
                </a:solidFill>
                <a:latin typeface="Calibri"/>
                <a:ea typeface="Source Sans Pro"/>
                <a:cs typeface="Calibri"/>
              </a:rPr>
              <a:t> provides an interactive way to explore and analyze population characteristics of a geographic area to help identify the need for a project, including to identify populations that may be covered by Title VI and Civil Rights federal requirements.</a:t>
            </a:r>
          </a:p>
          <a:p>
            <a:endParaRPr lang="en-US" sz="1200" dirty="0">
              <a:solidFill>
                <a:srgbClr val="343F4E"/>
              </a:solidFill>
              <a:latin typeface="Calibri"/>
              <a:ea typeface="Source Sans Pro"/>
              <a:cs typeface="Calibri"/>
            </a:endParaRPr>
          </a:p>
          <a:p>
            <a:r>
              <a:rPr lang="en-US" sz="1200" b="1" dirty="0">
                <a:solidFill>
                  <a:srgbClr val="343F4E"/>
                </a:solidFill>
                <a:latin typeface="Calibri"/>
                <a:ea typeface="Source Sans Pro"/>
                <a:cs typeface="Calibri"/>
              </a:rPr>
              <a:t>Climate Change, Air Quality, and Sustainability Analysis Tools</a:t>
            </a:r>
          </a:p>
          <a:p>
            <a:r>
              <a:rPr lang="en-US" sz="1200" dirty="0">
                <a:solidFill>
                  <a:srgbClr val="005EA2"/>
                </a:solidFill>
                <a:latin typeface="Calibri"/>
                <a:ea typeface="Source Sans Pro"/>
                <a:cs typeface="Calibri"/>
                <a:hlinkClick r:id="rId4"/>
              </a:rPr>
              <a:t>Climate Change, Air Quality, and Sustainability Analysis Tools</a:t>
            </a:r>
            <a:r>
              <a:rPr lang="en-US" sz="1200" dirty="0">
                <a:solidFill>
                  <a:srgbClr val="343F4E"/>
                </a:solidFill>
                <a:latin typeface="Calibri"/>
                <a:ea typeface="Source Sans Pro"/>
                <a:cs typeface="Calibri"/>
              </a:rPr>
              <a:t> provides resources for measuring transportation greenhouse gas emissions and air quality impacts, and incorporating climate adaptation and resilience features as they relate to a proposed project.</a:t>
            </a:r>
          </a:p>
          <a:p>
            <a:endParaRPr lang="en-US" sz="1200" dirty="0">
              <a:solidFill>
                <a:srgbClr val="343F4E"/>
              </a:solidFill>
              <a:latin typeface="Calibri"/>
              <a:ea typeface="Source Sans Pro"/>
              <a:cs typeface="Calibri"/>
            </a:endParaRPr>
          </a:p>
          <a:p>
            <a:r>
              <a:rPr lang="en-US" sz="1200" b="1" dirty="0">
                <a:solidFill>
                  <a:srgbClr val="343F4E"/>
                </a:solidFill>
                <a:latin typeface="Calibri"/>
                <a:ea typeface="Source Sans Pro"/>
                <a:cs typeface="Calibri"/>
              </a:rPr>
              <a:t>Equity and Justice40 Analysis Tools</a:t>
            </a:r>
          </a:p>
          <a:p>
            <a:r>
              <a:rPr lang="en-US" sz="1200" dirty="0">
                <a:solidFill>
                  <a:srgbClr val="005EA2"/>
                </a:solidFill>
                <a:latin typeface="Calibri"/>
                <a:ea typeface="Source Sans Pro"/>
                <a:cs typeface="Calibri"/>
                <a:hlinkClick r:id="rId5"/>
              </a:rPr>
              <a:t>Equity and Justice40 Analysis Tools</a:t>
            </a:r>
            <a:r>
              <a:rPr lang="en-US" sz="1200" dirty="0">
                <a:solidFill>
                  <a:srgbClr val="343F4E"/>
                </a:solidFill>
                <a:latin typeface="Calibri"/>
                <a:ea typeface="Source Sans Pro"/>
                <a:cs typeface="Calibri"/>
              </a:rPr>
              <a:t> provides resources to identify a disadvantaged community that may face transportation burdens or be impacted by climate change, pollution, environmental hazards, and other social or economic impacts to analyze how a potential project may reduce those identified inequities. These tools can also be useful for analysis needed to address Title VI and Civil Right compliance.</a:t>
            </a:r>
          </a:p>
          <a:p>
            <a:endParaRPr lang="en-US" sz="1200" dirty="0">
              <a:solidFill>
                <a:srgbClr val="343F4E"/>
              </a:solidFill>
              <a:latin typeface="Calibri"/>
              <a:ea typeface="Source Sans Pro"/>
              <a:cs typeface="Calibri"/>
            </a:endParaRPr>
          </a:p>
          <a:p>
            <a:r>
              <a:rPr lang="en-US" sz="1200" b="1" dirty="0">
                <a:solidFill>
                  <a:srgbClr val="343F4E"/>
                </a:solidFill>
                <a:latin typeface="Calibri"/>
                <a:ea typeface="Source Sans Pro"/>
                <a:cs typeface="Calibri"/>
              </a:rPr>
              <a:t>Safety Analysis Tools</a:t>
            </a:r>
          </a:p>
          <a:p>
            <a:r>
              <a:rPr lang="en-US" sz="1200" dirty="0">
                <a:solidFill>
                  <a:srgbClr val="005EA2"/>
                </a:solidFill>
                <a:latin typeface="Calibri"/>
                <a:ea typeface="Source Sans Pro"/>
                <a:cs typeface="Calibri"/>
                <a:hlinkClick r:id="rId6">
                  <a:extLst>
                    <a:ext uri="{A12FA001-AC4F-418D-AE19-62706E023703}">
                      <ahyp:hlinkClr xmlns:ahyp="http://schemas.microsoft.com/office/drawing/2018/hyperlinkcolor" val="tx"/>
                    </a:ext>
                  </a:extLst>
                </a:hlinkClick>
              </a:rPr>
              <a:t>Safety </a:t>
            </a:r>
            <a:r>
              <a:rPr lang="en-US" sz="1200" dirty="0">
                <a:solidFill>
                  <a:srgbClr val="005EA2"/>
                </a:solidFill>
                <a:latin typeface="Calibri"/>
                <a:ea typeface="Source Sans Pro"/>
                <a:cs typeface="Calibri"/>
                <a:hlinkClick r:id="rId6"/>
              </a:rPr>
              <a:t>Analysis</a:t>
            </a:r>
            <a:r>
              <a:rPr lang="en-US" sz="1200" dirty="0">
                <a:solidFill>
                  <a:srgbClr val="005EA2"/>
                </a:solidFill>
                <a:latin typeface="Calibri"/>
                <a:ea typeface="Source Sans Pro"/>
                <a:cs typeface="Calibri"/>
                <a:hlinkClick r:id="rId6">
                  <a:extLst>
                    <a:ext uri="{A12FA001-AC4F-418D-AE19-62706E023703}">
                      <ahyp:hlinkClr xmlns:ahyp="http://schemas.microsoft.com/office/drawing/2018/hyperlinkcolor" val="tx"/>
                    </a:ext>
                  </a:extLst>
                </a:hlinkClick>
              </a:rPr>
              <a:t> Tools</a:t>
            </a:r>
            <a:r>
              <a:rPr lang="en-US" sz="1200" dirty="0">
                <a:solidFill>
                  <a:srgbClr val="343F4E"/>
                </a:solidFill>
                <a:latin typeface="Calibri"/>
                <a:ea typeface="Source Sans Pro"/>
                <a:cs typeface="Calibri"/>
              </a:rPr>
              <a:t> provides resources to help analyze and convey safety benefits and risks, demonstrate safety needs in a community, and communicate the overall impact of a proposed project.</a:t>
            </a:r>
          </a:p>
          <a:p>
            <a:endParaRPr lang="en-US" sz="1200" dirty="0">
              <a:solidFill>
                <a:srgbClr val="343F4E"/>
              </a:solidFill>
              <a:latin typeface="Calibri"/>
              <a:ea typeface="Source Sans Pro"/>
              <a:cs typeface="Calibri"/>
            </a:endParaRPr>
          </a:p>
          <a:p>
            <a:r>
              <a:rPr lang="en-US" sz="1200" b="1" dirty="0">
                <a:solidFill>
                  <a:srgbClr val="343F4E"/>
                </a:solidFill>
                <a:latin typeface="Calibri"/>
                <a:ea typeface="Source Sans Pro"/>
                <a:cs typeface="Calibri"/>
              </a:rPr>
              <a:t>Specialized Data Resources</a:t>
            </a:r>
          </a:p>
          <a:p>
            <a:r>
              <a:rPr lang="en-US" sz="1200" dirty="0">
                <a:solidFill>
                  <a:srgbClr val="005EA2"/>
                </a:solidFill>
                <a:latin typeface="Calibri"/>
                <a:ea typeface="Source Sans Pro"/>
                <a:cs typeface="Calibri"/>
                <a:hlinkClick r:id="rId7"/>
              </a:rPr>
              <a:t>Specialized Data Resources</a:t>
            </a:r>
            <a:r>
              <a:rPr lang="en-US" sz="1200" dirty="0">
                <a:solidFill>
                  <a:srgbClr val="343F4E"/>
                </a:solidFill>
                <a:latin typeface="Calibri"/>
                <a:ea typeface="Source Sans Pro"/>
                <a:cs typeface="Calibri"/>
              </a:rPr>
              <a:t> provides information often needed to prepare a benefit-cost analysis and examine recommended monetized values, and other resources specific to intelligent transportation systems.</a:t>
            </a:r>
          </a:p>
          <a:p>
            <a:endParaRPr lang="en-US" sz="1200" dirty="0">
              <a:solidFill>
                <a:srgbClr val="343F4E"/>
              </a:solidFill>
              <a:latin typeface="Calibri"/>
              <a:ea typeface="Source Sans Pro"/>
              <a:cs typeface="Calibri"/>
            </a:endParaRPr>
          </a:p>
          <a:p>
            <a:r>
              <a:rPr lang="en-US" sz="1200" b="1" dirty="0">
                <a:solidFill>
                  <a:srgbClr val="343F4E"/>
                </a:solidFill>
                <a:latin typeface="Calibri"/>
                <a:ea typeface="Source Sans Pro"/>
                <a:cs typeface="Calibri"/>
              </a:rPr>
              <a:t>Transportation Analysis Tools</a:t>
            </a:r>
          </a:p>
          <a:p>
            <a:r>
              <a:rPr lang="en-US" sz="1200" dirty="0">
                <a:solidFill>
                  <a:srgbClr val="005EA2"/>
                </a:solidFill>
                <a:latin typeface="Calibri"/>
                <a:ea typeface="Source Sans Pro"/>
                <a:cs typeface="Calibri"/>
                <a:hlinkClick r:id="rId8"/>
              </a:rPr>
              <a:t>Transportation Analysis Tools</a:t>
            </a:r>
            <a:r>
              <a:rPr lang="en-US" sz="1200" dirty="0">
                <a:solidFill>
                  <a:srgbClr val="343F4E"/>
                </a:solidFill>
                <a:latin typeface="Calibri"/>
                <a:ea typeface="Source Sans Pro"/>
                <a:cs typeface="Calibri"/>
              </a:rPr>
              <a:t> provides resources to better understand, plan for, and convey trends around efficiencies—including connectivity, access, and frequency—across a transportation system.</a:t>
            </a:r>
          </a:p>
          <a:p>
            <a:pPr marL="266065" indent="-266065"/>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fld id="{21F7D347-CE24-413F-9275-A6CC278AB12A}" type="slidenum">
              <a:rPr lang="en-US" smtClean="0"/>
              <a:t>13</a:t>
            </a:fld>
            <a:endParaRPr lang="en-US"/>
          </a:p>
        </p:txBody>
      </p:sp>
    </p:spTree>
    <p:extLst>
      <p:ext uri="{BB962C8B-B14F-4D97-AF65-F5344CB8AC3E}">
        <p14:creationId xmlns:p14="http://schemas.microsoft.com/office/powerpoint/2010/main" val="2079527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applications from Hawaii, New Jersey, Rhode Island; </a:t>
            </a:r>
          </a:p>
          <a:p>
            <a:r>
              <a:rPr lang="en-US" dirty="0"/>
              <a:t>territories were USVI, AS, NMI</a:t>
            </a:r>
          </a:p>
          <a:p>
            <a:endParaRPr lang="en-US" dirty="0"/>
          </a:p>
          <a:p>
            <a:pPr marL="227965" indent="-227965"/>
            <a:r>
              <a:rPr lang="en-US" sz="2000" dirty="0">
                <a:latin typeface="Segoe UI"/>
                <a:cs typeface="Times"/>
              </a:rPr>
              <a:t>The Rural and Tribal Assistance Pilot Program will offer $3.4 million in FY22&amp;23 for eligible entities to hire financial, technical, and legal advisors. </a:t>
            </a:r>
            <a:endParaRPr lang="en-US" sz="2000" dirty="0">
              <a:latin typeface="Segoe UI"/>
            </a:endParaRPr>
          </a:p>
          <a:p>
            <a:pPr marL="0" indent="0">
              <a:buNone/>
            </a:pPr>
            <a:endParaRPr lang="en-US" sz="2400" dirty="0">
              <a:latin typeface="Segoe UI"/>
              <a:ea typeface="+mj-lt"/>
              <a:cs typeface="Times"/>
            </a:endParaRPr>
          </a:p>
          <a:p>
            <a:pPr marL="227965" indent="-227965"/>
            <a:r>
              <a:rPr lang="en-US" sz="2000" dirty="0">
                <a:latin typeface="Segoe UI"/>
                <a:ea typeface="+mj-lt"/>
                <a:cs typeface="+mj-lt"/>
              </a:rPr>
              <a:t>Eligible pre-development-phase activities include: </a:t>
            </a:r>
            <a:endParaRPr lang="en-US" sz="2000" dirty="0">
              <a:latin typeface="Segoe UI"/>
              <a:ea typeface="+mj-lt"/>
              <a:cs typeface="Times"/>
            </a:endParaRPr>
          </a:p>
          <a:p>
            <a:pPr marL="685165" lvl="1" indent="-227965"/>
            <a:r>
              <a:rPr lang="en-US" sz="1800" dirty="0">
                <a:latin typeface="Segoe UI"/>
                <a:ea typeface="+mj-lt"/>
                <a:cs typeface="+mj-lt"/>
              </a:rPr>
              <a:t>feasibility studies</a:t>
            </a:r>
          </a:p>
          <a:p>
            <a:pPr marL="685165" lvl="1" indent="-227965"/>
            <a:r>
              <a:rPr lang="en-US" sz="1800" dirty="0">
                <a:latin typeface="Segoe UI"/>
                <a:ea typeface="+mj-lt"/>
                <a:cs typeface="+mj-lt"/>
              </a:rPr>
              <a:t>project planning</a:t>
            </a:r>
            <a:endParaRPr lang="en-US" sz="1800" dirty="0">
              <a:latin typeface="Calibri Light" panose="020F0302020204030204"/>
              <a:ea typeface="+mj-lt"/>
            </a:endParaRPr>
          </a:p>
          <a:p>
            <a:pPr marL="685165" lvl="1" indent="-227965"/>
            <a:r>
              <a:rPr lang="en-US" sz="1800" dirty="0">
                <a:latin typeface="Segoe UI"/>
                <a:ea typeface="+mj-lt"/>
                <a:cs typeface="+mj-lt"/>
              </a:rPr>
              <a:t>preliminary engineering and design work</a:t>
            </a:r>
          </a:p>
          <a:p>
            <a:pPr marL="685165" lvl="1" indent="-227965"/>
            <a:r>
              <a:rPr lang="en-US" sz="1800" dirty="0">
                <a:latin typeface="Segoe UI"/>
                <a:ea typeface="+mj-lt"/>
                <a:cs typeface="+mj-lt"/>
              </a:rPr>
              <a:t>environmental review</a:t>
            </a:r>
            <a:endParaRPr lang="en-US" sz="1800" dirty="0">
              <a:latin typeface="Calibri Light" panose="020F0302020204030204"/>
              <a:ea typeface="+mj-lt"/>
            </a:endParaRPr>
          </a:p>
          <a:p>
            <a:pPr marL="685165" lvl="1" indent="-227965"/>
            <a:r>
              <a:rPr lang="en-US" sz="1800" dirty="0">
                <a:latin typeface="Segoe UI"/>
                <a:ea typeface="+mj-lt"/>
                <a:cs typeface="+mj-lt"/>
              </a:rPr>
              <a:t>economic assessments and cost-benefit analyses</a:t>
            </a:r>
            <a:endParaRPr lang="en-US" sz="1800" dirty="0">
              <a:latin typeface="Calibri Light" panose="020F0302020204030204"/>
              <a:ea typeface="+mj-lt"/>
            </a:endParaRPr>
          </a:p>
          <a:p>
            <a:pPr marL="685165" lvl="1" indent="-227965"/>
            <a:r>
              <a:rPr lang="en-US" sz="1800" dirty="0">
                <a:latin typeface="Segoe UI"/>
                <a:ea typeface="+mj-lt"/>
                <a:cs typeface="+mj-lt"/>
              </a:rPr>
              <a:t>value-for-money (VFM) studies </a:t>
            </a:r>
            <a:r>
              <a:rPr lang="en-US" sz="2200" dirty="0">
                <a:latin typeface="Segoe UI"/>
                <a:ea typeface="+mj-lt"/>
                <a:cs typeface="+mj-lt"/>
              </a:rPr>
              <a:t> </a:t>
            </a:r>
            <a:endParaRPr lang="en-US" sz="2200" dirty="0"/>
          </a:p>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ROUTES Council</a:t>
            </a: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60D3B-EE0A-4BD2-BB30-B6B1E6C21981}"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0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C35EA0-C559-440F-BD9B-E97C6FC16F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95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clude relevant networks/communities</a:t>
            </a:r>
          </a:p>
          <a:p>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619E96-089E-46F3-B64D-E8D8D5A95AA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9169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relevant FY22 awardees.</a:t>
            </a:r>
          </a:p>
          <a:p>
            <a:endParaRPr lang="en-US" dirty="0"/>
          </a:p>
          <a:p>
            <a:r>
              <a:rPr lang="en-US" dirty="0"/>
              <a:t>Through the Thriving Communities Program, USDOT selects and funds Capacity Builder teams to provide deep-dive technical assistance, planning, and capacity building support to under-resourced and disadvantaged communities across the U.S. to help ensure these communities have the technical tools and organizational capacity to comprehensively plan for and deliver quality infrastructure projects and community development projects that enable their communities and neighborhoods to thrive.</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3D556-1F90-4732-B82A-1E411E5880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639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1619E96-089E-46F3-B64D-E8D8D5A95AAA}" type="slidenum">
              <a:rPr lang="en-US" smtClean="0"/>
              <a:t>18</a:t>
            </a:fld>
            <a:endParaRPr lang="en-US"/>
          </a:p>
        </p:txBody>
      </p:sp>
    </p:spTree>
    <p:extLst>
      <p:ext uri="{BB962C8B-B14F-4D97-AF65-F5344CB8AC3E}">
        <p14:creationId xmlns:p14="http://schemas.microsoft.com/office/powerpoint/2010/main" val="856687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300"/>
              </a:spcAft>
              <a:buFont typeface="Arial"/>
              <a:buChar char="•"/>
            </a:pPr>
            <a:r>
              <a:rPr lang="en-US" dirty="0"/>
              <a:t>In FY23 304 awards were made to rural communities totaling $189,054,161 (~1/2 of all award recipients).</a:t>
            </a:r>
            <a:endParaRPr lang="en-US" dirty="0">
              <a:ea typeface="Calibri" panose="020F0502020204030204"/>
              <a:cs typeface="Calibri" panose="020F0502020204030204"/>
            </a:endParaRPr>
          </a:p>
          <a:p>
            <a:pPr marL="171450" indent="-171450">
              <a:spcAft>
                <a:spcPts val="300"/>
              </a:spcAft>
              <a:buFont typeface="Arial"/>
              <a:buChar char="•"/>
            </a:pPr>
            <a:r>
              <a:rPr lang="en-US" dirty="0"/>
              <a:t>Next Notice of Funding Opportunity is expected in February 2024.</a:t>
            </a:r>
            <a:endParaRPr lang="en-US" dirty="0">
              <a:ea typeface="Calibri" panose="020F0502020204030204"/>
              <a:cs typeface="Calibri" panose="020F0502020204030204"/>
            </a:endParaRPr>
          </a:p>
          <a:p>
            <a:pPr marL="171450" indent="-171450">
              <a:lnSpc>
                <a:spcPct val="90000"/>
              </a:lnSpc>
              <a:spcBef>
                <a:spcPts val="1000"/>
              </a:spcBef>
              <a:buFont typeface="Arial"/>
              <a:buChar char="•"/>
            </a:pPr>
            <a:r>
              <a:rPr lang="en-US" dirty="0"/>
              <a:t>City of Globe, Arizona (population 7,162)</a:t>
            </a:r>
            <a:endParaRPr lang="en-US" dirty="0">
              <a:cs typeface="Calibri" panose="020F0502020204030204"/>
            </a:endParaRPr>
          </a:p>
          <a:p>
            <a:pPr marL="628650" lvl="1" indent="-171450">
              <a:lnSpc>
                <a:spcPct val="90000"/>
              </a:lnSpc>
              <a:spcBef>
                <a:spcPts val="500"/>
              </a:spcBef>
              <a:buFont typeface="Arial"/>
              <a:buChar char="•"/>
            </a:pPr>
            <a:r>
              <a:rPr lang="en-US" dirty="0"/>
              <a:t>Received $124,846 to develop comprehensive safety action plan and use temporary solar-powered pedestrian beacon installations, crosswalk surface treatments, signing, pop-up bike lanes, narrowing corridor treatments with surface treatments, curb extensions (bulb-outs) with landscaping elements with recycled materials planters, and plastic delineators.</a:t>
            </a:r>
            <a:endParaRPr lang="en-US" dirty="0">
              <a:cs typeface="Calibri" panose="020F0502020204030204"/>
            </a:endParaRPr>
          </a:p>
          <a:p>
            <a:pPr marL="171450" indent="-171450">
              <a:lnSpc>
                <a:spcPct val="90000"/>
              </a:lnSpc>
              <a:spcBef>
                <a:spcPts val="1000"/>
              </a:spcBef>
              <a:buFont typeface="Arial"/>
              <a:buChar char="•"/>
            </a:pPr>
            <a:r>
              <a:rPr lang="en-US" dirty="0"/>
              <a:t>City of Thomasville, Georgia (population 18,867)</a:t>
            </a:r>
            <a:endParaRPr lang="en-US" dirty="0">
              <a:cs typeface="Calibri" panose="020F0502020204030204"/>
            </a:endParaRPr>
          </a:p>
          <a:p>
            <a:pPr marL="628650" lvl="1" indent="-171450">
              <a:lnSpc>
                <a:spcPct val="90000"/>
              </a:lnSpc>
              <a:spcBef>
                <a:spcPts val="500"/>
              </a:spcBef>
              <a:buFont typeface="Arial"/>
              <a:buChar char="•"/>
            </a:pPr>
            <a:r>
              <a:rPr lang="en-US" dirty="0"/>
              <a:t>Received $175,000 to conduct a demonstration project on the West Jackson corridor to test proposed safety measures such as buffered bike lanes, on‐street parking, landscape planters, mid‐block crossings, and curb extensions.</a:t>
            </a:r>
            <a:endParaRPr lang="en-US" dirty="0">
              <a:cs typeface="Calibri" panose="020F0502020204030204"/>
            </a:endParaRPr>
          </a:p>
          <a:p>
            <a:pPr marL="171450" indent="-171450">
              <a:lnSpc>
                <a:spcPct val="90000"/>
              </a:lnSpc>
              <a:spcBef>
                <a:spcPts val="1000"/>
              </a:spcBef>
              <a:buFont typeface="Arial"/>
              <a:buChar char="•"/>
            </a:pPr>
            <a:r>
              <a:rPr lang="en-US" dirty="0"/>
              <a:t>City of Decorah, Iowa (population 7,747)</a:t>
            </a:r>
            <a:endParaRPr lang="en-US" dirty="0">
              <a:cs typeface="Calibri" panose="020F0502020204030204"/>
            </a:endParaRPr>
          </a:p>
          <a:p>
            <a:pPr marL="628650" lvl="1" indent="-171450">
              <a:lnSpc>
                <a:spcPct val="90000"/>
              </a:lnSpc>
              <a:spcBef>
                <a:spcPts val="500"/>
              </a:spcBef>
              <a:buFont typeface="Arial"/>
              <a:buChar char="•"/>
            </a:pPr>
            <a:r>
              <a:rPr lang="en-US" dirty="0"/>
              <a:t>Received $283,286 to develop a comprehensive safety action plan and supplemental planning to update the ADA Transition Plan and an evaluate the streetlights.</a:t>
            </a:r>
            <a:endParaRPr lang="en-US" dirty="0">
              <a:cs typeface="Calibri" panose="020F0502020204030204"/>
            </a:endParaRP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6DD98A2-784B-4446-AA0D-FA19C6CF18DD}" type="slidenum">
              <a:rPr lang="en-US"/>
              <a:t>20</a:t>
            </a:fld>
            <a:endParaRPr lang="en-US"/>
          </a:p>
        </p:txBody>
      </p:sp>
    </p:spTree>
    <p:extLst>
      <p:ext uri="{BB962C8B-B14F-4D97-AF65-F5344CB8AC3E}">
        <p14:creationId xmlns:p14="http://schemas.microsoft.com/office/powerpoint/2010/main" val="938030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QR code takes you to the subscribe pages for rou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C35EA0-C559-440F-BD9B-E97C6FC16F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424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dd or remove sections as needed.</a:t>
            </a:r>
            <a:endParaRPr lang="en-US" dirty="0"/>
          </a:p>
        </p:txBody>
      </p:sp>
      <p:sp>
        <p:nvSpPr>
          <p:cNvPr id="4" name="Slide Number Placeholder 3"/>
          <p:cNvSpPr>
            <a:spLocks noGrp="1"/>
          </p:cNvSpPr>
          <p:nvPr>
            <p:ph type="sldNum" sz="quarter" idx="5"/>
          </p:nvPr>
        </p:nvSpPr>
        <p:spPr/>
        <p:txBody>
          <a:bodyPr/>
          <a:lstStyle/>
          <a:p>
            <a:fld id="{E1619E96-089E-46F3-B64D-E8D8D5A95AAA}" type="slidenum">
              <a:rPr lang="en-US" smtClean="0"/>
              <a:t>2</a:t>
            </a:fld>
            <a:endParaRPr lang="en-US"/>
          </a:p>
        </p:txBody>
      </p:sp>
    </p:spTree>
    <p:extLst>
      <p:ext uri="{BB962C8B-B14F-4D97-AF65-F5344CB8AC3E}">
        <p14:creationId xmlns:p14="http://schemas.microsoft.com/office/powerpoint/2010/main" val="2803420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The ROUTES Initiative was established to be DOT’s front door for rural communitie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And address the disparities in transportation infrastructure that negatively impact rural area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We work in three main way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First we engage with rural communities to understand the challenges they face in improving transportation infrastructure</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Second, we work with DOT leadership to implement policy solutions that address these challenge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And third, we work across the federal government to enlist resources from other agencies to maximize our impact</a:t>
            </a: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80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defRPr/>
            </a:pPr>
            <a:endParaRPr lang="en-US" sz="1200" baseline="0">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7430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847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dirty="0"/>
              <a:t>USDOT funding programs are listed by mode, and details on eligibility are given for each funding program.</a:t>
            </a:r>
          </a:p>
          <a:p>
            <a:pPr marL="171450" indent="-171450">
              <a:buFont typeface="Arial,Sans-Serif"/>
              <a:buChar char="•"/>
            </a:pPr>
            <a:r>
              <a:rPr lang="en-US" dirty="0"/>
              <a:t>Recently added DOT programs include the NEVI formula program created under BIL, with a total of $5 billion to be given to states through FY2026 to strategically deploy EV charging infrastructure, as well as the $2.5 billion CFI grant program, which is a competitive grant program to deploy alternative fueling infrastructure, with half of this funding prioritized for rural areas and low-and moderate-income neighborhoods.</a:t>
            </a:r>
          </a:p>
          <a:p>
            <a:pPr marL="171450" indent="-171450">
              <a:buFont typeface="Arial,Sans-Serif"/>
              <a:buChar char="•"/>
            </a:pPr>
            <a:r>
              <a:rPr lang="en-US" dirty="0"/>
              <a:t>Some USDOT funding programs such as the Transportation Alternatives Set-Aside Program can be used for </a:t>
            </a:r>
            <a:r>
              <a:rPr lang="en-US" dirty="0" err="1"/>
              <a:t>micromobility</a:t>
            </a:r>
            <a:r>
              <a:rPr lang="en-US" dirty="0"/>
              <a:t> projects.</a:t>
            </a:r>
          </a:p>
          <a:p>
            <a:pPr marL="171450" indent="-171450">
              <a:buFont typeface="Arial,Sans-Serif"/>
              <a:buChar char="•"/>
            </a:pPr>
            <a:r>
              <a:rPr lang="en-US" dirty="0"/>
              <a:t>The toolkit also includes resources outside of USDOT – including programs from USDA for rural development, DOE, EPA, and the IRS.</a:t>
            </a:r>
          </a:p>
          <a:p>
            <a:pPr marL="171450" indent="-171450">
              <a:buFont typeface="Arial,Sans-Serif"/>
              <a:buChar char="•"/>
            </a:pPr>
            <a:r>
              <a:rPr lang="en-US" dirty="0"/>
              <a:t>EPA’s Clean School Bus Program is another BIL program, providing $5 billion to help replace existing school buses with clean and zero-emission models.</a:t>
            </a:r>
          </a:p>
          <a:p>
            <a:pPr marL="171450" indent="-171450">
              <a:buFont typeface="Arial,Sans-Serif"/>
              <a:buChar char="•"/>
            </a:pPr>
            <a:r>
              <a:rPr lang="en-US" dirty="0"/>
              <a:t>The Alternative Fuel Vehicle Refueling Property Credit was expanded and extended to 2032 under the Inflation Reduction Act.</a:t>
            </a:r>
          </a:p>
          <a:p>
            <a:pPr marL="171450" indent="-171450">
              <a:buFont typeface="Arial,Sans-Serif"/>
              <a:buChar char="•"/>
            </a:pPr>
            <a:r>
              <a:rPr lang="en-US" dirty="0"/>
              <a:t>The funding section of the toolkit has more information on the typical grant award size for each program.</a:t>
            </a:r>
          </a:p>
          <a:p>
            <a:pPr marL="171450" indent="-171450">
              <a:buFont typeface="Arial,Sans-Serif"/>
              <a:buChar char="•"/>
            </a:pPr>
            <a:r>
              <a:rPr lang="en-US" dirty="0"/>
              <a:t>Also want to note that the Inflation Reduction Act, which was signed into law in 2022, will enable several EV-related programs across multiple Federal agencies, including USDOT, DOE, EPA, HUD, and the Department of the Treasury. Many of these new programs are not captured in the toolkit.</a:t>
            </a:r>
          </a:p>
          <a:p>
            <a:endParaRPr lang="en-US" dirty="0">
              <a:cs typeface="Calibri"/>
            </a:endParaRPr>
          </a:p>
        </p:txBody>
      </p:sp>
      <p:sp>
        <p:nvSpPr>
          <p:cNvPr id="4" name="Slide Number Placeholder 3"/>
          <p:cNvSpPr>
            <a:spLocks noGrp="1"/>
          </p:cNvSpPr>
          <p:nvPr>
            <p:ph type="sldNum" sz="quarter" idx="5"/>
          </p:nvPr>
        </p:nvSpPr>
        <p:spPr/>
        <p:txBody>
          <a:bodyPr/>
          <a:lstStyle/>
          <a:p>
            <a:fld id="{21F7D347-CE24-413F-9275-A6CC278AB12A}" type="slidenum">
              <a:rPr lang="en-US"/>
              <a:t>7</a:t>
            </a:fld>
            <a:endParaRPr lang="en-US"/>
          </a:p>
        </p:txBody>
      </p:sp>
    </p:spTree>
    <p:extLst>
      <p:ext uri="{BB962C8B-B14F-4D97-AF65-F5344CB8AC3E}">
        <p14:creationId xmlns:p14="http://schemas.microsoft.com/office/powerpoint/2010/main" val="42825584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a:t>To highlight a site host partnership success story:</a:t>
            </a:r>
          </a:p>
          <a:p>
            <a:pPr marL="171450" indent="-171450">
              <a:buFont typeface="Arial,Sans-Serif"/>
              <a:buChar char="•"/>
            </a:pPr>
            <a:r>
              <a:rPr lang="en-US"/>
              <a:t>West Virginia State Parks collaborated with the West Virginia Clean Cities Coalition to install Level 2 chargers at 9 park lodges throughout the state.</a:t>
            </a:r>
          </a:p>
          <a:p>
            <a:pPr marL="171450" indent="-171450">
              <a:buFont typeface="Arial,Sans-Serif"/>
              <a:buChar char="•"/>
            </a:pPr>
            <a:r>
              <a:rPr lang="en-US"/>
              <a:t>Park staff quickly found that providing free Level 2 charging boosted </a:t>
            </a:r>
            <a:r>
              <a:rPr lang="en-US" err="1"/>
              <a:t>visitorship</a:t>
            </a:r>
            <a:r>
              <a:rPr lang="en-US"/>
              <a:t> across the parks, and the folks using the chargers spent more time in gift shops, dining at park lodge restaurants, and even booking over night stays in lodge rooms and cabins.</a:t>
            </a:r>
          </a:p>
          <a:p>
            <a:pPr marL="171450" indent="-171450">
              <a:buFont typeface="Arial,Sans-Serif"/>
              <a:buChar char="•"/>
            </a:pPr>
            <a:r>
              <a:rPr lang="en-US" dirty="0"/>
              <a:t>All of which generated more than enough funds to make up for the costs associated with hosting Level 2 EV charging.</a:t>
            </a:r>
          </a:p>
        </p:txBody>
      </p:sp>
      <p:sp>
        <p:nvSpPr>
          <p:cNvPr id="4" name="Slide Number Placeholder 3"/>
          <p:cNvSpPr>
            <a:spLocks noGrp="1"/>
          </p:cNvSpPr>
          <p:nvPr>
            <p:ph type="sldNum" sz="quarter" idx="5"/>
          </p:nvPr>
        </p:nvSpPr>
        <p:spPr/>
        <p:txBody>
          <a:bodyPr/>
          <a:lstStyle/>
          <a:p>
            <a:fld id="{21F7D347-CE24-413F-9275-A6CC278AB12A}" type="slidenum">
              <a:rPr lang="en-US"/>
              <a:t>8</a:t>
            </a:fld>
            <a:endParaRPr lang="en-US"/>
          </a:p>
        </p:txBody>
      </p:sp>
    </p:spTree>
    <p:extLst>
      <p:ext uri="{BB962C8B-B14F-4D97-AF65-F5344CB8AC3E}">
        <p14:creationId xmlns:p14="http://schemas.microsoft.com/office/powerpoint/2010/main" val="3497203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265" indent="-342900">
              <a:spcAft>
                <a:spcPts val="800"/>
              </a:spcAft>
              <a:buFont typeface="Arial,Sans-Serif"/>
              <a:buChar char="•"/>
              <a:defRPr/>
            </a:pPr>
            <a:r>
              <a:rPr lang="en-US" dirty="0"/>
              <a:t>Toolkit originally developed in 2020 to guide potential applicants in identifying and navigating USDOT discretionary opportunities for rural transportation projects.</a:t>
            </a:r>
          </a:p>
          <a:p>
            <a:pPr marL="342265" indent="-342900">
              <a:spcAft>
                <a:spcPts val="800"/>
              </a:spcAft>
              <a:buFont typeface="Arial,Sans-Serif"/>
              <a:buChar char="•"/>
              <a:defRPr/>
            </a:pPr>
            <a:r>
              <a:rPr lang="en-US" dirty="0"/>
              <a:t>Major enhancements in this revision include:</a:t>
            </a:r>
            <a:endParaRPr lang="en-US"/>
          </a:p>
          <a:p>
            <a:pPr marL="951230" lvl="1" indent="-342900">
              <a:spcAft>
                <a:spcPts val="800"/>
              </a:spcAft>
              <a:buFont typeface="Arial,Sans-Serif"/>
              <a:buChar char="•"/>
              <a:defRPr/>
            </a:pPr>
            <a:r>
              <a:rPr lang="en-US" dirty="0"/>
              <a:t>Update to add new BIL programs.</a:t>
            </a:r>
            <a:endParaRPr lang="en-US"/>
          </a:p>
          <a:p>
            <a:pPr marL="951230" lvl="1" indent="-342900">
              <a:spcAft>
                <a:spcPts val="800"/>
              </a:spcAft>
              <a:buFont typeface="Arial,Sans-Serif"/>
              <a:buChar char="•"/>
              <a:defRPr/>
            </a:pPr>
            <a:r>
              <a:rPr lang="en-US" dirty="0"/>
              <a:t>Expansion to non-DOT federal grants, regional commissions.</a:t>
            </a:r>
            <a:endParaRPr lang="en-US"/>
          </a:p>
          <a:p>
            <a:pPr marL="951230" lvl="1" indent="-342900">
              <a:spcAft>
                <a:spcPts val="800"/>
              </a:spcAft>
              <a:buFont typeface="Arial,Sans-Serif"/>
              <a:buChar char="•"/>
              <a:defRPr/>
            </a:pPr>
            <a:r>
              <a:rPr lang="en-US" dirty="0"/>
              <a:t>Upgrade the static directory of grants to a live, searchable database.</a:t>
            </a:r>
            <a:endParaRPr lang="en-US"/>
          </a:p>
          <a:p>
            <a:pPr marL="342265" indent="-342900">
              <a:spcAft>
                <a:spcPts val="800"/>
              </a:spcAft>
              <a:buFont typeface="Arial,Sans-Serif"/>
              <a:buChar char="•"/>
              <a:defRPr/>
            </a:pPr>
            <a:r>
              <a:rPr lang="en-US" dirty="0"/>
              <a:t>All elements coordinated with and reviewed by OAs and the other federal agencies.</a:t>
            </a: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881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The dashboard provides an interactive way to search and filter through federal discretionary grant opportunities, based on your specific need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It includes over 90 grant programs across DOT and Non-DOT agenci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Ability to search and filter through grants by criteria such as activity, applicant, and transportation typ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It includes filters specially designed for rural and Tribal communities, so you can quickly identify programs that could have a match or set-aside benefi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Finally, there’s also a function that allows you to download your results as an Excel CSV file, so you can then attach it to an email and share what you find with others.</a:t>
            </a:r>
          </a:p>
        </p:txBody>
      </p:sp>
      <p:sp>
        <p:nvSpPr>
          <p:cNvPr id="4" name="Slide Number Placeholder 3"/>
          <p:cNvSpPr>
            <a:spLocks noGrp="1"/>
          </p:cNvSpPr>
          <p:nvPr>
            <p:ph type="sldNum" sz="quarter" idx="5"/>
          </p:nvPr>
        </p:nvSpPr>
        <p:spPr/>
        <p:txBody>
          <a:bodyPr/>
          <a:lstStyle/>
          <a:p>
            <a:fld id="{AFD125A7-A42D-4DCB-AF1B-29C454C34B68}" type="slidenum">
              <a:rPr lang="en-US" smtClean="0"/>
              <a:t>10</a:t>
            </a:fld>
            <a:endParaRPr lang="en-US"/>
          </a:p>
        </p:txBody>
      </p:sp>
    </p:spTree>
    <p:extLst>
      <p:ext uri="{BB962C8B-B14F-4D97-AF65-F5344CB8AC3E}">
        <p14:creationId xmlns:p14="http://schemas.microsoft.com/office/powerpoint/2010/main" val="3417690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639448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178676A-7F6A-46E6-8968-AB739A42B5B0}"/>
              </a:ext>
            </a:extLst>
          </p:cNvPr>
          <p:cNvSpPr>
            <a:spLocks noGrp="1"/>
          </p:cNvSpPr>
          <p:nvPr>
            <p:ph type="title"/>
          </p:nvPr>
        </p:nvSpPr>
        <p:spPr>
          <a:xfrm>
            <a:off x="457200" y="0"/>
            <a:ext cx="11277600" cy="9906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FB12D55-6024-4EDE-8A2E-397A3EAB7D92}"/>
              </a:ext>
            </a:extLst>
          </p:cNvPr>
          <p:cNvSpPr>
            <a:spLocks noGrp="1"/>
          </p:cNvSpPr>
          <p:nvPr>
            <p:ph sz="half" idx="1"/>
          </p:nvPr>
        </p:nvSpPr>
        <p:spPr>
          <a:xfrm>
            <a:off x="457200" y="1213155"/>
            <a:ext cx="54864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FDBF5C-6C08-4951-9DEC-096F20732B76}"/>
              </a:ext>
            </a:extLst>
          </p:cNvPr>
          <p:cNvSpPr>
            <a:spLocks noGrp="1"/>
          </p:cNvSpPr>
          <p:nvPr>
            <p:ph sz="half" idx="2"/>
          </p:nvPr>
        </p:nvSpPr>
        <p:spPr>
          <a:xfrm>
            <a:off x="6248400" y="1213155"/>
            <a:ext cx="54864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2707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920177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0485298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6796859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8585858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32694489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99360156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9844430"/>
      </p:ext>
    </p:extLst>
  </p:cSld>
  <p:clrMapOvr>
    <a:masterClrMapping/>
  </p:clrMapOvr>
  <p:transition>
    <p:fade/>
  </p:transition>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05932863"/>
      </p:ext>
    </p:extLst>
  </p:cSld>
  <p:clrMapOvr>
    <a:masterClrMapping/>
  </p:clrMapOvr>
  <p:transition>
    <p:fade/>
  </p:transition>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1221244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40867679"/>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8E274A-C1B2-4584-AE6C-04A920C0450F}"/>
              </a:ext>
            </a:extLst>
          </p:cNvPr>
          <p:cNvSpPr>
            <a:spLocks noGrp="1"/>
          </p:cNvSpPr>
          <p:nvPr>
            <p:ph type="dt" sz="half" idx="10"/>
          </p:nvPr>
        </p:nvSpPr>
        <p:spPr/>
        <p:txBody>
          <a:bodyPr/>
          <a:lstStyle/>
          <a:p>
            <a:fld id="{BAA2A42E-3B30-4B84-8321-A76BAE36C94A}" type="datetimeFigureOut">
              <a:rPr lang="en-US" smtClean="0"/>
              <a:t>3/8/2024</a:t>
            </a:fld>
            <a:endParaRPr lang="en-US"/>
          </a:p>
        </p:txBody>
      </p:sp>
      <p:sp>
        <p:nvSpPr>
          <p:cNvPr id="3" name="Footer Placeholder 2">
            <a:extLst>
              <a:ext uri="{FF2B5EF4-FFF2-40B4-BE49-F238E27FC236}">
                <a16:creationId xmlns:a16="http://schemas.microsoft.com/office/drawing/2014/main" id="{17E82766-22E7-4FEE-8203-927DE0FB5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36149-6745-49F2-A98A-8F50D489E569}"/>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41981224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3373654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8801749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4429260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76931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447495640"/>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17577018"/>
      </p:ext>
    </p:extLst>
  </p:cSld>
  <p:clrMapOvr>
    <a:masterClrMapping/>
  </p:clrMapOvr>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125669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0860207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665290"/>
            <a:ext cx="6084213" cy="4716460"/>
          </a:xfrm>
        </p:spPr>
        <p:txBody>
          <a:bodyPr/>
          <a:lstStyle/>
          <a:p>
            <a:r>
              <a:rPr lang="en-US" noProof="0"/>
              <a:t>Click icon to add picture</a:t>
            </a:r>
          </a:p>
        </p:txBody>
      </p:sp>
      <p:sp>
        <p:nvSpPr>
          <p:cNvPr id="6" name="Content Placeholder 3"/>
          <p:cNvSpPr>
            <a:spLocks noGrp="1"/>
          </p:cNvSpPr>
          <p:nvPr>
            <p:ph sz="quarter" idx="10"/>
          </p:nvPr>
        </p:nvSpPr>
        <p:spPr>
          <a:xfrm>
            <a:off x="502920" y="1665290"/>
            <a:ext cx="4333663" cy="471646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3370387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AEF67F89-55D5-4B02-B284-7F2FE86B67EB}"/>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BDED0E6B-D860-435E-BF3B-5519E848895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469076E2-1D71-4014-8BFB-95F5CA8C625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97722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1380" y="2660992"/>
            <a:ext cx="7141945" cy="1325563"/>
          </a:xfrm>
          <a:prstGeom prst="rect">
            <a:avLst/>
          </a:prstGeom>
        </p:spPr>
        <p:txBody>
          <a:bodyPr anchor="ctr"/>
          <a:lstStyle>
            <a:lvl1pPr algn="ctr">
              <a:defRPr b="1">
                <a:solidFill>
                  <a:schemeClr val="bg1"/>
                </a:solidFill>
                <a:latin typeface="+mn-lt"/>
              </a:defRPr>
            </a:lvl1pPr>
          </a:lstStyle>
          <a:p>
            <a:r>
              <a:rPr lang="en-US"/>
              <a:t>Click to edit Master title style</a:t>
            </a:r>
          </a:p>
        </p:txBody>
      </p:sp>
      <p:sp>
        <p:nvSpPr>
          <p:cNvPr id="4" name="Slide Number Placeholder 3"/>
          <p:cNvSpPr>
            <a:spLocks noGrp="1"/>
          </p:cNvSpPr>
          <p:nvPr>
            <p:ph type="sldNum" sz="quarter" idx="4"/>
          </p:nvPr>
        </p:nvSpPr>
        <p:spPr>
          <a:xfrm>
            <a:off x="9452817"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00741511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17FACB0-195F-4DAB-9FD5-772A304E9FB3}"/>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3822DAB5-ADF4-4108-87C8-45273001E73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DBED4A0F-4987-4CDD-BB19-D8051E48E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56915439-F14A-40CE-A460-0C814484161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F94B5C92-1239-447F-B089-735030F27DB7}"/>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77106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C7679691-90FD-4587-A54E-DFB71521FB0F}"/>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a:extLst>
              <a:ext uri="{FF2B5EF4-FFF2-40B4-BE49-F238E27FC236}">
                <a16:creationId xmlns:a16="http://schemas.microsoft.com/office/drawing/2014/main" id="{4ACF8F1C-1E3E-405F-9EE4-66FBDF1175E0}"/>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0130A144-9E1C-48D4-8533-174AC48FF1C8}"/>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7" name="CaseCode">
            <a:extLst>
              <a:ext uri="{FF2B5EF4-FFF2-40B4-BE49-F238E27FC236}">
                <a16:creationId xmlns:a16="http://schemas.microsoft.com/office/drawing/2014/main" id="{09FFFAB2-E97A-484D-BCDD-0769694F98A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EC9097D1-626F-4381-B9FB-37F7ED61CF87}"/>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6266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E87B4871-A895-4F6C-A692-6DEF6F3DEE68}"/>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D0A667F0-B7EF-4F5E-92CD-27B38F79EFE4}"/>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C764A1B9-9F97-4535-8A4A-8B7855E21172}"/>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01939989-A920-4252-9C41-3485AB688B4C}"/>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60CAF51C-9D8C-40CD-A331-0FD27992CDD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283135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D2797B33-F6AE-464E-B1F9-AAF8C558042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8CA3D77-96FD-468A-A22B-1C767AC6D413}"/>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5BBE2FB0-E266-461D-A917-BFDA5AA7869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0D6A0B05-077E-4971-B1B2-F5C78CA97585}"/>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2070ACEB-100E-4F5E-8907-E10127768B7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585329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662556F3-FB07-45E1-9730-3CF5E862F61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D45EF10F-B1C8-4ED2-A091-1C2F837B31E4}"/>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48E7A1D6-FD3E-4165-B102-6C7996E8698D}"/>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5E7E810B-0354-4387-B9EB-185FAE5A00A4}"/>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AB1D4699-A6B1-447B-8A69-80498447200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5298531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740003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325712" y="1851441"/>
            <a:ext cx="3540577"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83CD5844-47E7-4F53-AA86-AC151A6DAE0F}"/>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5" name="Rectangle 14">
            <a:extLst>
              <a:ext uri="{FF2B5EF4-FFF2-40B4-BE49-F238E27FC236}">
                <a16:creationId xmlns:a16="http://schemas.microsoft.com/office/drawing/2014/main" id="{FFB1E0F0-C8EC-4021-A4CD-FBE449C92EF7}"/>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8" name="Rectangle 17">
            <a:extLst>
              <a:ext uri="{FF2B5EF4-FFF2-40B4-BE49-F238E27FC236}">
                <a16:creationId xmlns:a16="http://schemas.microsoft.com/office/drawing/2014/main" id="{3EBB15F7-AD41-43E6-8AA9-C473BE405C8C}"/>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0" name="Rectangle 9">
            <a:extLst>
              <a:ext uri="{FF2B5EF4-FFF2-40B4-BE49-F238E27FC236}">
                <a16:creationId xmlns:a16="http://schemas.microsoft.com/office/drawing/2014/main" id="{CFB83F4C-3746-4353-BC4A-0153501CEA78}"/>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1" name="Rectangle 10">
            <a:extLst>
              <a:ext uri="{FF2B5EF4-FFF2-40B4-BE49-F238E27FC236}">
                <a16:creationId xmlns:a16="http://schemas.microsoft.com/office/drawing/2014/main" id="{A8640B8B-1792-4C32-A25E-C3DBB59E1381}"/>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B7050B18-EDB5-41C7-A0ED-5244F6D71EDE}"/>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53624400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8" name="Text Placeholder 8">
            <a:extLst>
              <a:ext uri="{FF2B5EF4-FFF2-40B4-BE49-F238E27FC236}">
                <a16:creationId xmlns:a16="http://schemas.microsoft.com/office/drawing/2014/main" id="{D0DD3CDC-03F0-45B8-ACB9-856464915565}"/>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Tree>
    <p:extLst>
      <p:ext uri="{BB962C8B-B14F-4D97-AF65-F5344CB8AC3E}">
        <p14:creationId xmlns:p14="http://schemas.microsoft.com/office/powerpoint/2010/main" val="329435128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p:cNvSpPr>
            <a:spLocks noGrp="1"/>
          </p:cNvSpPr>
          <p:nvPr>
            <p:ph type="body" sz="quarter" idx="13" hasCustomPrompt="1"/>
          </p:nvPr>
        </p:nvSpPr>
        <p:spPr>
          <a:xfrm>
            <a:off x="501650" y="651600"/>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hasCustomPrompt="1"/>
          </p:nvPr>
        </p:nvSpPr>
        <p:spPr>
          <a:xfrm>
            <a:off x="501650" y="317500"/>
            <a:ext cx="11252200" cy="334102"/>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endParaRPr lang="en-US" noProof="0"/>
          </a:p>
        </p:txBody>
      </p:sp>
      <p:sp>
        <p:nvSpPr>
          <p:cNvPr id="11" name="CaseCode">
            <a:extLst>
              <a:ext uri="{FF2B5EF4-FFF2-40B4-BE49-F238E27FC236}">
                <a16:creationId xmlns:a16="http://schemas.microsoft.com/office/drawing/2014/main" id="{676B7924-6A82-4453-9ABA-42AE71384BDC}"/>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8" name="TextBox 17">
            <a:extLst>
              <a:ext uri="{FF2B5EF4-FFF2-40B4-BE49-F238E27FC236}">
                <a16:creationId xmlns:a16="http://schemas.microsoft.com/office/drawing/2014/main" id="{DCBBEDB2-39B5-4D4C-AA82-85ED607FAC3B}"/>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75406FC4-DE74-444B-A302-728DCB5CCE95}"/>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D0B54295-AE4D-4802-A098-55FC864EABE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503076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E03400EF-52A1-4F49-9A72-7AAA7A3E2109}"/>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5" name="Rectangle 24">
            <a:extLst>
              <a:ext uri="{FF2B5EF4-FFF2-40B4-BE49-F238E27FC236}">
                <a16:creationId xmlns:a16="http://schemas.microsoft.com/office/drawing/2014/main" id="{F07EBD73-619B-4083-AA58-A9B7F851FABB}"/>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6" name="Rectangle 25">
            <a:extLst>
              <a:ext uri="{FF2B5EF4-FFF2-40B4-BE49-F238E27FC236}">
                <a16:creationId xmlns:a16="http://schemas.microsoft.com/office/drawing/2014/main" id="{8936D0BF-951E-4BCD-8E21-2F3F2629B1BE}"/>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7" name="Rectangle 26">
            <a:extLst>
              <a:ext uri="{FF2B5EF4-FFF2-40B4-BE49-F238E27FC236}">
                <a16:creationId xmlns:a16="http://schemas.microsoft.com/office/drawing/2014/main" id="{387004E2-4A82-478A-BFDB-7103ADDD0F56}"/>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512064" y="1856232"/>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166929" y="1847618"/>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8732" y="4256623"/>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165458" y="4256623"/>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Rectangle 15">
            <a:extLst>
              <a:ext uri="{FF2B5EF4-FFF2-40B4-BE49-F238E27FC236}">
                <a16:creationId xmlns:a16="http://schemas.microsoft.com/office/drawing/2014/main" id="{DF87AC7C-0DDC-46B1-9738-B435CBA7C569}"/>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8" name="Rectangle 17">
            <a:extLst>
              <a:ext uri="{FF2B5EF4-FFF2-40B4-BE49-F238E27FC236}">
                <a16:creationId xmlns:a16="http://schemas.microsoft.com/office/drawing/2014/main" id="{585E2D1D-5ECC-40B9-A69B-4D412BDF527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BCF2E545-2B90-444A-AFD8-C988CF27E6EB}"/>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51DD60C-BE69-45B0-A397-4D6A1E682029}"/>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10927138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1380" y="2660992"/>
            <a:ext cx="7141945" cy="1325563"/>
          </a:xfrm>
          <a:prstGeom prst="rect">
            <a:avLst/>
          </a:prstGeom>
        </p:spPr>
        <p:txBody>
          <a:bodyPr anchor="ctr"/>
          <a:lstStyle>
            <a:lvl1pPr algn="ctr">
              <a:defRPr b="1">
                <a:solidFill>
                  <a:schemeClr val="bg1"/>
                </a:solidFill>
              </a:defRPr>
            </a:lvl1pPr>
          </a:lstStyle>
          <a:p>
            <a:r>
              <a:rPr lang="en-US"/>
              <a:t>Click to edit Master title style</a:t>
            </a:r>
          </a:p>
        </p:txBody>
      </p:sp>
      <p:sp>
        <p:nvSpPr>
          <p:cNvPr id="5" name="Text Placeholder 4"/>
          <p:cNvSpPr>
            <a:spLocks noGrp="1"/>
          </p:cNvSpPr>
          <p:nvPr>
            <p:ph type="body" sz="quarter" idx="10"/>
          </p:nvPr>
        </p:nvSpPr>
        <p:spPr>
          <a:xfrm>
            <a:off x="8312468" y="2866573"/>
            <a:ext cx="3602164" cy="914400"/>
          </a:xfrm>
          <a:prstGeom prst="rect">
            <a:avLst/>
          </a:prstGeom>
        </p:spPr>
        <p:txBody>
          <a:bodyPr anchor="ctr"/>
          <a:lstStyle>
            <a:lvl1pPr marL="0" indent="0" algn="ctr">
              <a:buNone/>
              <a:defRPr sz="4400" b="1" i="1">
                <a:solidFill>
                  <a:schemeClr val="bg1"/>
                </a:solidFill>
              </a:defRPr>
            </a:lvl1pPr>
          </a:lstStyle>
          <a:p>
            <a:pPr lvl="0"/>
            <a:endParaRPr lang="en-US"/>
          </a:p>
        </p:txBody>
      </p:sp>
      <p:sp>
        <p:nvSpPr>
          <p:cNvPr id="7"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2352938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2400281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0548383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Subhead: No Content - Breadcrumb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US"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40131585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7663356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031840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9716580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85281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8E274A-C1B2-4584-AE6C-04A920C0450F}"/>
              </a:ext>
            </a:extLst>
          </p:cNvPr>
          <p:cNvSpPr>
            <a:spLocks noGrp="1"/>
          </p:cNvSpPr>
          <p:nvPr>
            <p:ph type="dt" sz="half" idx="10"/>
          </p:nvPr>
        </p:nvSpPr>
        <p:spPr/>
        <p:txBody>
          <a:bodyPr/>
          <a:lstStyle/>
          <a:p>
            <a:fld id="{BAA2A42E-3B30-4B84-8321-A76BAE36C94A}" type="datetimeFigureOut">
              <a:rPr lang="en-US" smtClean="0"/>
              <a:t>3/8/2024</a:t>
            </a:fld>
            <a:endParaRPr lang="en-US"/>
          </a:p>
        </p:txBody>
      </p:sp>
      <p:sp>
        <p:nvSpPr>
          <p:cNvPr id="3" name="Footer Placeholder 2">
            <a:extLst>
              <a:ext uri="{FF2B5EF4-FFF2-40B4-BE49-F238E27FC236}">
                <a16:creationId xmlns:a16="http://schemas.microsoft.com/office/drawing/2014/main" id="{17E82766-22E7-4FEE-8203-927DE0FB5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36149-6745-49F2-A98A-8F50D489E569}"/>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28669176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1BDFC-A4D5-4A58-844D-D7E18361B9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B8D170-3677-4947-B9ED-B79A0FF3977A}"/>
              </a:ext>
            </a:extLst>
          </p:cNvPr>
          <p:cNvSpPr>
            <a:spLocks noGrp="1"/>
          </p:cNvSpPr>
          <p:nvPr>
            <p:ph type="dt" sz="half" idx="10"/>
          </p:nvPr>
        </p:nvSpPr>
        <p:spPr/>
        <p:txBody>
          <a:bodyPr/>
          <a:lstStyle/>
          <a:p>
            <a:fld id="{BAA2A42E-3B30-4B84-8321-A76BAE36C94A}" type="datetimeFigureOut">
              <a:rPr lang="en-US" smtClean="0"/>
              <a:t>3/8/2024</a:t>
            </a:fld>
            <a:endParaRPr lang="en-US"/>
          </a:p>
        </p:txBody>
      </p:sp>
      <p:sp>
        <p:nvSpPr>
          <p:cNvPr id="4" name="Footer Placeholder 3">
            <a:extLst>
              <a:ext uri="{FF2B5EF4-FFF2-40B4-BE49-F238E27FC236}">
                <a16:creationId xmlns:a16="http://schemas.microsoft.com/office/drawing/2014/main" id="{4134C3EA-14D5-4181-A1FD-8486B01AF6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4058C6-5D21-48AC-A552-2FF83F66EE48}"/>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1367654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1406945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2" y="1241232"/>
            <a:ext cx="1649919"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6"/>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1"/>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1" y="266065"/>
            <a:ext cx="10358711"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6" y="145065"/>
            <a:ext cx="775252" cy="660400"/>
          </a:xfrm>
          <a:prstGeom prst="rect">
            <a:avLst/>
          </a:prstGeom>
        </p:spPr>
      </p:pic>
      <p:sp>
        <p:nvSpPr>
          <p:cNvPr id="2" name="TextBox 1">
            <a:extLst>
              <a:ext uri="{FF2B5EF4-FFF2-40B4-BE49-F238E27FC236}">
                <a16:creationId xmlns:a16="http://schemas.microsoft.com/office/drawing/2014/main" id="{6393832A-66AA-4B10-A398-80672FA589C6}"/>
              </a:ext>
            </a:extLst>
          </p:cNvPr>
          <p:cNvSpPr txBox="1"/>
          <p:nvPr userDrawn="1"/>
        </p:nvSpPr>
        <p:spPr>
          <a:xfrm>
            <a:off x="44878" y="6682285"/>
            <a:ext cx="2202847" cy="215444"/>
          </a:xfrm>
          <a:prstGeom prst="rect">
            <a:avLst/>
          </a:prstGeom>
          <a:noFill/>
        </p:spPr>
        <p:txBody>
          <a:bodyPr wrap="none" rtlCol="0">
            <a:spAutoFit/>
          </a:bodyPr>
          <a:lstStyle/>
          <a:p>
            <a:r>
              <a:rPr lang="en-US" sz="800">
                <a:solidFill>
                  <a:schemeClr val="bg1"/>
                </a:solidFill>
                <a:latin typeface="Corbel" panose="020B0503020204020204" pitchFamily="34" charset="0"/>
              </a:rPr>
              <a:t>Deliberative Draft – Preliminary and Incomplete</a:t>
            </a:r>
          </a:p>
        </p:txBody>
      </p:sp>
    </p:spTree>
    <p:extLst>
      <p:ext uri="{BB962C8B-B14F-4D97-AF65-F5344CB8AC3E}">
        <p14:creationId xmlns:p14="http://schemas.microsoft.com/office/powerpoint/2010/main" val="40643182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370866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6533317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2275175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718791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66068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530390"/>
            <a:ext cx="5592012" cy="324000"/>
          </a:xfrm>
          <a:prstGeom prst="rect">
            <a:avLst/>
          </a:prstGeom>
        </p:spPr>
        <p:txBody>
          <a:bodyPr anchor="t" anchorCtr="0">
            <a:noAutofit/>
          </a:bodyPr>
          <a:lstStyle>
            <a:lvl1pPr algn="l">
              <a:lnSpc>
                <a:spcPct val="100000"/>
              </a:lnSpc>
              <a:defRPr sz="13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6587156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a:prstGeom prst="rect">
            <a:avLst/>
          </a:prstGeom>
        </p:spPr>
        <p:txBody>
          <a:bodyPr anchor="t"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60562598"/>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322114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3290270986"/>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9564507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2" name="TextBox 11"/>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3" name="TextBox 12"/>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4" name="TextBox 13"/>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954269020"/>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21" name="TextBox 20"/>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2" name="TextBox 21"/>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412536534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TextBox 6"/>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8" name="TextBox 7"/>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9" name="TextBox 8"/>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368625858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Ref idx="1001">
        <a:schemeClr val="bg1"/>
      </p:bgRef>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pic>
        <p:nvPicPr>
          <p:cNvPr id="7" name="Picture 6">
            <a:extLst>
              <a:ext uri="{FF2B5EF4-FFF2-40B4-BE49-F238E27FC236}">
                <a16:creationId xmlns:a16="http://schemas.microsoft.com/office/drawing/2014/main" id="{6AA92F43-CC2A-42BD-A418-9CAF1331F58D}"/>
              </a:ext>
            </a:extLst>
          </p:cNvPr>
          <p:cNvPicPr>
            <a:picLocks noChangeAspect="1"/>
          </p:cNvPicPr>
          <p:nvPr userDrawn="1"/>
        </p:nvPicPr>
        <p:blipFill>
          <a:blip r:embed="rId2"/>
          <a:stretch>
            <a:fillRect/>
          </a:stretch>
        </p:blipFill>
        <p:spPr>
          <a:xfrm>
            <a:off x="11339245" y="6254286"/>
            <a:ext cx="493776" cy="497173"/>
          </a:xfrm>
          <a:prstGeom prst="rect">
            <a:avLst/>
          </a:prstGeom>
        </p:spPr>
      </p:pic>
      <p:sp>
        <p:nvSpPr>
          <p:cNvPr id="8" name="TextBox 7">
            <a:extLst>
              <a:ext uri="{FF2B5EF4-FFF2-40B4-BE49-F238E27FC236}">
                <a16:creationId xmlns:a16="http://schemas.microsoft.com/office/drawing/2014/main" id="{CCCB57EB-B4A6-48F7-955B-7EE1F4271781}"/>
              </a:ext>
            </a:extLst>
          </p:cNvPr>
          <p:cNvSpPr txBox="1"/>
          <p:nvPr userDrawn="1"/>
        </p:nvSpPr>
        <p:spPr>
          <a:xfrm>
            <a:off x="7089915" y="6364134"/>
            <a:ext cx="4172431" cy="153888"/>
          </a:xfrm>
          <a:prstGeom prst="rect">
            <a:avLst/>
          </a:prstGeom>
          <a:noFill/>
        </p:spPr>
        <p:txBody>
          <a:bodyPr wrap="square" lIns="0" tIns="0" rIns="0" bIns="0" rtlCol="0">
            <a:spAutoFit/>
          </a:bodyPr>
          <a:lstStyle/>
          <a:p>
            <a:pPr algn="r">
              <a:spcBef>
                <a:spcPts val="600"/>
              </a:spcBef>
              <a:buSzPct val="100000"/>
            </a:pPr>
            <a:r>
              <a:rPr lang="en-US" sz="1000" spc="300" dirty="0">
                <a:latin typeface="Segoe UI Light" panose="020B0502040204020203" pitchFamily="34" charset="0"/>
                <a:cs typeface="Segoe UI Light" panose="020B0502040204020203" pitchFamily="34" charset="0"/>
              </a:rPr>
              <a:t>U.S. DEPARTMENT OF TRANSPORTATION</a:t>
            </a:r>
          </a:p>
        </p:txBody>
      </p:sp>
      <p:pic>
        <p:nvPicPr>
          <p:cNvPr id="9" name="Picture 8">
            <a:extLst>
              <a:ext uri="{FF2B5EF4-FFF2-40B4-BE49-F238E27FC236}">
                <a16:creationId xmlns:a16="http://schemas.microsoft.com/office/drawing/2014/main" id="{80917C39-BB3A-4E83-8871-1B485B956598}"/>
              </a:ext>
            </a:extLst>
          </p:cNvPr>
          <p:cNvPicPr>
            <a:picLocks noChangeAspect="1"/>
          </p:cNvPicPr>
          <p:nvPr userDrawn="1"/>
        </p:nvPicPr>
        <p:blipFill>
          <a:blip r:embed="rId3"/>
          <a:stretch>
            <a:fillRect/>
          </a:stretch>
        </p:blipFill>
        <p:spPr>
          <a:xfrm>
            <a:off x="219674" y="6256942"/>
            <a:ext cx="493776" cy="494514"/>
          </a:xfrm>
          <a:prstGeom prst="rect">
            <a:avLst/>
          </a:prstGeom>
        </p:spPr>
      </p:pic>
      <p:sp>
        <p:nvSpPr>
          <p:cNvPr id="10" name="TextBox 9">
            <a:extLst>
              <a:ext uri="{FF2B5EF4-FFF2-40B4-BE49-F238E27FC236}">
                <a16:creationId xmlns:a16="http://schemas.microsoft.com/office/drawing/2014/main" id="{3C61D5E9-3528-4AAE-92B2-872669D12B45}"/>
              </a:ext>
            </a:extLst>
          </p:cNvPr>
          <p:cNvSpPr txBox="1"/>
          <p:nvPr userDrawn="1"/>
        </p:nvSpPr>
        <p:spPr>
          <a:xfrm>
            <a:off x="1008074" y="6317969"/>
            <a:ext cx="4172431" cy="353943"/>
          </a:xfrm>
          <a:prstGeom prst="rect">
            <a:avLst/>
          </a:prstGeom>
          <a:noFill/>
        </p:spPr>
        <p:txBody>
          <a:bodyPr wrap="square" lIns="0" tIns="0" rIns="0" bIns="0" rtlCol="0">
            <a:spAutoFit/>
          </a:bodyPr>
          <a:lstStyle/>
          <a:p>
            <a:pPr>
              <a:buSzPct val="100000"/>
            </a:pPr>
            <a:r>
              <a:rPr lang="en-US" sz="1000" spc="300" dirty="0">
                <a:latin typeface="Segoe UI Light" panose="020B0502040204020203" pitchFamily="34" charset="0"/>
                <a:cs typeface="Segoe UI Light" panose="020B0502040204020203" pitchFamily="34" charset="0"/>
              </a:rPr>
              <a:t>R.O.U.T.E.S.</a:t>
            </a:r>
          </a:p>
          <a:p>
            <a:pPr>
              <a:buSzPct val="100000"/>
            </a:pPr>
            <a:r>
              <a:rPr lang="en-US" sz="650" spc="300" dirty="0">
                <a:latin typeface="Segoe UI Light" panose="020B0502040204020203" pitchFamily="34" charset="0"/>
                <a:cs typeface="Segoe UI Light" panose="020B0502040204020203" pitchFamily="34" charset="0"/>
              </a:rPr>
              <a:t>RURAL OPPORTUNITIES TO USE TRANSPORTATION FOR ECONOMIC SUCCESS</a:t>
            </a:r>
          </a:p>
        </p:txBody>
      </p:sp>
      <p:sp>
        <p:nvSpPr>
          <p:cNvPr id="11" name="TextBox 10">
            <a:extLst>
              <a:ext uri="{FF2B5EF4-FFF2-40B4-BE49-F238E27FC236}">
                <a16:creationId xmlns:a16="http://schemas.microsoft.com/office/drawing/2014/main" id="{6C766ABD-2E6B-40A4-972E-7BD30DB10869}"/>
              </a:ext>
            </a:extLst>
          </p:cNvPr>
          <p:cNvSpPr txBox="1"/>
          <p:nvPr userDrawn="1"/>
        </p:nvSpPr>
        <p:spPr>
          <a:xfrm>
            <a:off x="5942015" y="6364132"/>
            <a:ext cx="307975" cy="153888"/>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1000" noProof="0" smtClean="0">
                <a:solidFill>
                  <a:schemeClr val="tx1"/>
                </a:solidFill>
                <a:latin typeface="Segoe UI Light" panose="020B0502040204020203" pitchFamily="34" charset="0"/>
                <a:cs typeface="Segoe UI Light" panose="020B0502040204020203" pitchFamily="34" charset="0"/>
              </a:rPr>
              <a:pPr marL="0" indent="0" algn="ctr">
                <a:spcBef>
                  <a:spcPts val="600"/>
                </a:spcBef>
                <a:buSzPct val="100000"/>
                <a:buFont typeface="Arial"/>
                <a:buNone/>
              </a:pPr>
              <a:t>‹#›</a:t>
            </a:fld>
            <a:endParaRPr lang="en-US" sz="1000" noProof="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975186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21" name="TextBox 20"/>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2" name="TextBox 21"/>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69189746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a:prstGeom prst="rect">
            <a:avLst/>
          </a:prstGeo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a:prstGeom prst="rect">
            <a:avLst/>
          </a:prstGeo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41230961"/>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TextBox 8"/>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3" name="TextBox 12"/>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4" name="TextBox 13"/>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28702315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4" name="TextBox 13"/>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5" name="TextBox 14"/>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6" name="TextBox 15"/>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31952843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8" name="TextBox 17"/>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9" name="TextBox 18"/>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0" name="TextBox 19"/>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26797111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4" name="TextBox 13"/>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5" name="TextBox 14"/>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6" name="TextBox 15"/>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0341166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752935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37858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83278616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a:prstGeom prst="rect">
            <a:avLst/>
          </a:prstGeom>
        </p:spPr>
        <p:txBody>
          <a:bodyPr/>
          <a:lstStyle/>
          <a:p>
            <a:r>
              <a:rPr lang="en-US" noProof="0" dirty="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869860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04629280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6554672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4"/>
            <a:ext cx="11252200" cy="4622799"/>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5771903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84872"/>
            <a:ext cx="11252200" cy="357187"/>
          </a:xfrm>
          <a:prstGeom prst="rect">
            <a:avLst/>
          </a:prstGeo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4"/>
            <a:ext cx="11252201" cy="316411"/>
          </a:xfrm>
          <a:prstGeom prst="rect">
            <a:avLst/>
          </a:prstGeom>
        </p:spPr>
        <p:txBody>
          <a:bodyPr>
            <a:normAutofit/>
          </a:bodyPr>
          <a:lstStyle>
            <a:lvl1pPr>
              <a:spcAft>
                <a:spcPts val="0"/>
              </a:spcAft>
              <a:defRPr sz="675"/>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9591908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a:prstGeom prst="rect">
            <a:avLst/>
          </a:prstGeo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a:prstGeom prst="rect">
            <a:avLst/>
          </a:prstGeo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a:prstGeom prst="rect">
            <a:avLst/>
          </a:prstGeo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4"/>
            <a:ext cx="11252201" cy="316411"/>
          </a:xfrm>
          <a:prstGeom prst="rect">
            <a:avLst/>
          </a:prstGeom>
        </p:spPr>
        <p:txBody>
          <a:bodyPr>
            <a:normAutofit/>
          </a:bodyPr>
          <a:lstStyle>
            <a:lvl1pPr>
              <a:spcAft>
                <a:spcPts val="0"/>
              </a:spcAft>
              <a:defRPr sz="675"/>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67808101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22249171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69870467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48735"/>
            <a:ext cx="10972800" cy="889953"/>
          </a:xfrm>
        </p:spPr>
        <p:txBody>
          <a:bodyPr>
            <a:normAutofit/>
          </a:bodyPr>
          <a:lstStyle>
            <a:lvl1pPr>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609600" y="1281022"/>
            <a:ext cx="10972800" cy="4876800"/>
          </a:xfrm>
        </p:spPr>
        <p:txBody>
          <a:bodyPr/>
          <a:lstStyle>
            <a:lvl2pPr marL="457200" indent="-182880">
              <a:buSzPct val="75000"/>
              <a:buFont typeface="Courier New" panose="02070309020205020404" pitchFamily="49" charset="0"/>
              <a:buChar char="o"/>
              <a:defRPr/>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723587" y="-50723"/>
            <a:ext cx="1422400" cy="329184"/>
          </a:xfrm>
        </p:spPr>
        <p:txBody>
          <a:bodyPr/>
          <a:lstStyle>
            <a:lvl1pPr algn="r">
              <a:defRPr/>
            </a:lvl1pPr>
          </a:lstStyle>
          <a:p>
            <a:fld id="{1A97B858-7F87-4293-BC05-FFDEB8F8B7A1}" type="slidenum">
              <a:rPr lang="en-US" smtClean="0"/>
              <a:pPr/>
              <a:t>‹#›</a:t>
            </a:fld>
            <a:endParaRPr lang="en-US"/>
          </a:p>
        </p:txBody>
      </p:sp>
    </p:spTree>
    <p:extLst>
      <p:ext uri="{BB962C8B-B14F-4D97-AF65-F5344CB8AC3E}">
        <p14:creationId xmlns:p14="http://schemas.microsoft.com/office/powerpoint/2010/main" val="496364158"/>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a:prstGeom prst="rect">
            <a:avLst/>
          </a:prstGeo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a:prstGeom prst="rect">
            <a:avLst/>
          </a:prstGeo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4"/>
            <a:ext cx="11252201" cy="316411"/>
          </a:xfrm>
          <a:prstGeom prst="rect">
            <a:avLst/>
          </a:prstGeom>
        </p:spPr>
        <p:txBody>
          <a:bodyPr>
            <a:noAutofit/>
          </a:bodyPr>
          <a:lstStyle>
            <a:lvl1pPr>
              <a:spcAft>
                <a:spcPts val="0"/>
              </a:spcAft>
              <a:defRPr sz="675"/>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4647171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a:prstGeom prst="rect">
            <a:avLst/>
          </a:prstGeo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a:prstGeom prst="rect">
            <a:avLst/>
          </a:prstGeo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a:prstGeom prst="rect">
            <a:avLst/>
          </a:prstGeo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a:prstGeom prst="rect">
            <a:avLst/>
          </a:prstGeo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4"/>
            <a:ext cx="11252201" cy="316411"/>
          </a:xfrm>
          <a:prstGeom prst="rect">
            <a:avLst/>
          </a:prstGeom>
        </p:spPr>
        <p:txBody>
          <a:bodyPr>
            <a:noAutofit/>
          </a:bodyPr>
          <a:lstStyle>
            <a:lvl1pPr>
              <a:spcAft>
                <a:spcPts val="0"/>
              </a:spcAft>
              <a:defRPr sz="675"/>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05764300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17178925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49835464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a:prstGeom prst="rect">
            <a:avLst/>
          </a:prstGeo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a:prstGeom prst="rect">
            <a:avLst/>
          </a:prstGeo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700212"/>
            <a:ext cx="2664000" cy="1260000"/>
          </a:xfrm>
          <a:prstGeom prst="rect">
            <a:avLst/>
          </a:prstGeo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a:prstGeom prst="rect">
            <a:avLst/>
          </a:prstGeo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78547215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a:prstGeom prst="rect">
            <a:avLst/>
          </a:prstGeo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a:prstGeom prst="rect">
            <a:avLst/>
          </a:prstGeo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a:prstGeom prst="rect">
            <a:avLst/>
          </a:prstGeo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a:prstGeom prst="rect">
            <a:avLst/>
          </a:prstGeo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65953451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a:prstGeom prst="rect">
            <a:avLst/>
          </a:prstGeo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7"/>
            <a:ext cx="3639316" cy="2059099"/>
          </a:xfrm>
          <a:prstGeom prst="rect">
            <a:avLst/>
          </a:prstGeo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a:prstGeom prst="rect">
            <a:avLst/>
          </a:prstGeo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09982093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87223770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a:prstGeom prst="rect">
            <a:avLst/>
          </a:prstGeo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a:prstGeom prst="rect">
            <a:avLst/>
          </a:prstGeo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Picture Placeholder 29"/>
          <p:cNvSpPr>
            <a:spLocks noGrp="1"/>
          </p:cNvSpPr>
          <p:nvPr>
            <p:ph type="pic" sz="quarter" idx="20" hasCustomPrompt="1"/>
          </p:nvPr>
        </p:nvSpPr>
        <p:spPr>
          <a:xfrm>
            <a:off x="10467638" y="1857896"/>
            <a:ext cx="1244161" cy="549275"/>
          </a:xfrm>
          <a:prstGeom prst="rect">
            <a:avLst/>
          </a:prstGeo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21"/>
            <a:ext cx="1244907" cy="549275"/>
          </a:xfrm>
          <a:prstGeom prst="rect">
            <a:avLst/>
          </a:prstGeo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6541730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7638" y="1857896"/>
            <a:ext cx="1244161"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5"/>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00438" y="4249687"/>
            <a:ext cx="1274916"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3"/>
            <a:ext cx="1244160"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21"/>
            <a:ext cx="1244907"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0064133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45981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3"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469902" y="1705968"/>
            <a:ext cx="3627439"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04178" y="1705968"/>
            <a:ext cx="3629025"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278313" y="1851441"/>
            <a:ext cx="3636963"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68916960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64246497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5"/>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501655" y="6477004"/>
            <a:ext cx="5355167"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11382381" y="6477005"/>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7309026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20430908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1476636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18527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7" y="4102104"/>
            <a:ext cx="8555263" cy="2197101"/>
          </a:xfrm>
          <a:prstGeom prst="rect">
            <a:avLst/>
          </a:prstGeom>
        </p:spPr>
        <p:txBody>
          <a:bodyPr anchor="b" anchorCtr="0">
            <a:noAutofit/>
          </a:bodyPr>
          <a:lstStyle>
            <a:lvl1pPr>
              <a:lnSpc>
                <a:spcPct val="100000"/>
              </a:lnSpc>
              <a:spcAft>
                <a:spcPts val="600"/>
              </a:spcAft>
              <a:defRPr sz="675"/>
            </a:lvl1pPr>
          </a:lstStyle>
          <a:p>
            <a:pPr lvl="0"/>
            <a:r>
              <a:rPr lang="en-US" noProof="0"/>
              <a:t>Edit Master text styles</a:t>
            </a:r>
          </a:p>
        </p:txBody>
      </p:sp>
      <p:sp>
        <p:nvSpPr>
          <p:cNvPr id="3" name="Picture Placeholder 2"/>
          <p:cNvSpPr>
            <a:spLocks noGrp="1"/>
          </p:cNvSpPr>
          <p:nvPr>
            <p:ph type="pic" sz="quarter" idx="14" hasCustomPrompt="1"/>
          </p:nvPr>
        </p:nvSpPr>
        <p:spPr>
          <a:xfrm>
            <a:off x="9402599" y="4102100"/>
            <a:ext cx="2319503" cy="1725448"/>
          </a:xfrm>
          <a:prstGeom prst="rect">
            <a:avLst/>
          </a:prstGeo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402600" y="5935483"/>
            <a:ext cx="2319501" cy="363723"/>
          </a:xfrm>
          <a:prstGeom prst="rect">
            <a:avLst/>
          </a:prstGeom>
        </p:spPr>
        <p:txBody>
          <a:bodyPr anchor="b" anchorCtr="0"/>
          <a:lstStyle>
            <a:lvl1pPr>
              <a:lnSpc>
                <a:spcPct val="100000"/>
              </a:lnSpc>
              <a:defRPr sz="950"/>
            </a:lvl1pPr>
          </a:lstStyle>
          <a:p>
            <a:pPr lvl="0"/>
            <a:r>
              <a:rPr lang="en-US" noProof="0"/>
              <a:t>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4561530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1" y="1241232"/>
            <a:ext cx="1649918"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5"/>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0" y="266065"/>
            <a:ext cx="10358710"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5" y="145065"/>
            <a:ext cx="775252" cy="660400"/>
          </a:xfrm>
          <a:prstGeom prst="rect">
            <a:avLst/>
          </a:prstGeom>
        </p:spPr>
      </p:pic>
      <p:sp>
        <p:nvSpPr>
          <p:cNvPr id="2" name="TextBox 1">
            <a:extLst>
              <a:ext uri="{FF2B5EF4-FFF2-40B4-BE49-F238E27FC236}">
                <a16:creationId xmlns:a16="http://schemas.microsoft.com/office/drawing/2014/main" id="{6393832A-66AA-4B10-A398-80672FA589C6}"/>
              </a:ext>
            </a:extLst>
          </p:cNvPr>
          <p:cNvSpPr txBox="1"/>
          <p:nvPr userDrawn="1"/>
        </p:nvSpPr>
        <p:spPr>
          <a:xfrm>
            <a:off x="44878" y="6682285"/>
            <a:ext cx="2353529" cy="215444"/>
          </a:xfrm>
          <a:prstGeom prst="rect">
            <a:avLst/>
          </a:prstGeom>
          <a:noFill/>
        </p:spPr>
        <p:txBody>
          <a:bodyPr wrap="none" rtlCol="0">
            <a:spAutoFit/>
          </a:bodyPr>
          <a:lstStyle/>
          <a:p>
            <a:r>
              <a:rPr lang="en-US" sz="800">
                <a:solidFill>
                  <a:schemeClr val="bg1"/>
                </a:solidFill>
                <a:latin typeface="Corbel" panose="020B0503020204020204" pitchFamily="34" charset="0"/>
              </a:rPr>
              <a:t>Deliberative Draft – Confidential and Pre-decisional</a:t>
            </a:r>
          </a:p>
        </p:txBody>
      </p:sp>
    </p:spTree>
    <p:extLst>
      <p:ext uri="{BB962C8B-B14F-4D97-AF65-F5344CB8AC3E}">
        <p14:creationId xmlns:p14="http://schemas.microsoft.com/office/powerpoint/2010/main" val="4640872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CDF900-C3CA-498C-B98C-E4265F4A65DF}"/>
              </a:ext>
            </a:extLst>
          </p:cNvPr>
          <p:cNvSpPr>
            <a:spLocks noGrp="1"/>
          </p:cNvSpPr>
          <p:nvPr>
            <p:ph type="title"/>
          </p:nvPr>
        </p:nvSpPr>
        <p:spPr/>
        <p:txBody>
          <a:bodyPr/>
          <a:lstStyle>
            <a:lvl1pPr>
              <a:defRPr sz="3600"/>
            </a:lvl1pPr>
          </a:lstStyle>
          <a:p>
            <a:endParaRPr lang="en-US"/>
          </a:p>
        </p:txBody>
      </p:sp>
      <p:sp>
        <p:nvSpPr>
          <p:cNvPr id="4" name="Text Placeholder 8"/>
          <p:cNvSpPr>
            <a:spLocks noGrp="1"/>
          </p:cNvSpPr>
          <p:nvPr>
            <p:ph type="body" sz="quarter" idx="14"/>
          </p:nvPr>
        </p:nvSpPr>
        <p:spPr>
          <a:xfrm>
            <a:off x="551122" y="1014101"/>
            <a:ext cx="11070607"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545146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47485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65A7A-47AE-D34D-8E6C-C9BDE4FF86BC}"/>
              </a:ext>
            </a:extLst>
          </p:cNvPr>
          <p:cNvSpPr>
            <a:spLocks noGrp="1"/>
          </p:cNvSpPr>
          <p:nvPr>
            <p:ph type="ctrTitle"/>
          </p:nvPr>
        </p:nvSpPr>
        <p:spPr>
          <a:xfrm>
            <a:off x="6601968" y="1214438"/>
            <a:ext cx="5175504" cy="2387600"/>
          </a:xfrm>
          <a:prstGeom prst="rect">
            <a:avLst/>
          </a:prstGeom>
        </p:spPr>
        <p:txBody>
          <a:bodyPr anchor="b"/>
          <a:lstStyle>
            <a:lvl1pPr algn="l">
              <a:defRPr sz="5400" b="1">
                <a:solidFill>
                  <a:srgbClr val="124559"/>
                </a:solidFill>
                <a:latin typeface="Times" panose="02020603050405020304" pitchFamily="18" charset="0"/>
                <a:cs typeface="Times" panose="02020603050405020304" pitchFamily="18" charset="0"/>
              </a:defRPr>
            </a:lvl1pPr>
          </a:lstStyle>
          <a:p>
            <a:r>
              <a:rPr lang="en-US"/>
              <a:t>Click to edit Master title style</a:t>
            </a:r>
          </a:p>
        </p:txBody>
      </p:sp>
      <p:sp>
        <p:nvSpPr>
          <p:cNvPr id="3" name="Subtitle 2">
            <a:extLst>
              <a:ext uri="{FF2B5EF4-FFF2-40B4-BE49-F238E27FC236}">
                <a16:creationId xmlns:a16="http://schemas.microsoft.com/office/drawing/2014/main" id="{AFCD4378-C373-F747-9405-ED417EA882CE}"/>
              </a:ext>
            </a:extLst>
          </p:cNvPr>
          <p:cNvSpPr>
            <a:spLocks noGrp="1"/>
          </p:cNvSpPr>
          <p:nvPr>
            <p:ph type="subTitle" idx="1"/>
          </p:nvPr>
        </p:nvSpPr>
        <p:spPr>
          <a:xfrm>
            <a:off x="6601968" y="3894646"/>
            <a:ext cx="4066032" cy="1043114"/>
          </a:xfrm>
          <a:prstGeom prst="rect">
            <a:avLst/>
          </a:prstGeom>
        </p:spPr>
        <p:txBody>
          <a:bodyPr/>
          <a:lstStyle>
            <a:lvl1pPr marL="0" indent="0" algn="l">
              <a:buNone/>
              <a:defRPr sz="2400" b="1">
                <a:solidFill>
                  <a:srgbClr val="124559"/>
                </a:solidFill>
                <a:latin typeface="Times" panose="02020603050405020304" pitchFamily="18" charset="0"/>
                <a:cs typeface="Times"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421041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B2B141-BEA0-288E-A7EA-6F45E9D8C250}"/>
              </a:ext>
            </a:extLst>
          </p:cNvPr>
          <p:cNvSpPr/>
          <p:nvPr userDrawn="1"/>
        </p:nvSpPr>
        <p:spPr>
          <a:xfrm>
            <a:off x="0" y="0"/>
            <a:ext cx="12184854" cy="6949440"/>
          </a:xfrm>
          <a:prstGeom prst="rect">
            <a:avLst/>
          </a:prstGeom>
          <a:solidFill>
            <a:srgbClr val="2F2F6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pic>
        <p:nvPicPr>
          <p:cNvPr id="12" name="Picture 11" descr="A close-up of a car&#10;&#10;Description automatically generated with medium confidence">
            <a:extLst>
              <a:ext uri="{FF2B5EF4-FFF2-40B4-BE49-F238E27FC236}">
                <a16:creationId xmlns:a16="http://schemas.microsoft.com/office/drawing/2014/main" id="{0E0358E2-3B48-32A1-6AB4-9D6343C8245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7361" r="-529" b="7917"/>
          <a:stretch/>
        </p:blipFill>
        <p:spPr>
          <a:xfrm>
            <a:off x="12281" y="879565"/>
            <a:ext cx="12249387" cy="6069873"/>
          </a:xfrm>
          <a:prstGeom prst="rect">
            <a:avLst/>
          </a:prstGeom>
        </p:spPr>
      </p:pic>
      <p:pic>
        <p:nvPicPr>
          <p:cNvPr id="6" name="Graphic 5">
            <a:extLst>
              <a:ext uri="{FF2B5EF4-FFF2-40B4-BE49-F238E27FC236}">
                <a16:creationId xmlns:a16="http://schemas.microsoft.com/office/drawing/2014/main" id="{F09D0B6A-27F2-3CBE-8F22-C43DA2E72FD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251" y="467823"/>
            <a:ext cx="12261669" cy="2093719"/>
          </a:xfrm>
          <a:prstGeom prst="rect">
            <a:avLst/>
          </a:prstGeom>
        </p:spPr>
      </p:pic>
      <p:pic>
        <p:nvPicPr>
          <p:cNvPr id="10" name="Graphic 9">
            <a:extLst>
              <a:ext uri="{FF2B5EF4-FFF2-40B4-BE49-F238E27FC236}">
                <a16:creationId xmlns:a16="http://schemas.microsoft.com/office/drawing/2014/main" id="{752A7A2D-972C-CA9A-BA91-B79F5F84FB4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2251" y="2342287"/>
            <a:ext cx="5119591" cy="2877783"/>
          </a:xfrm>
          <a:prstGeom prst="rect">
            <a:avLst/>
          </a:prstGeom>
        </p:spPr>
      </p:pic>
      <p:sp>
        <p:nvSpPr>
          <p:cNvPr id="3" name="Subtitle 2"/>
          <p:cNvSpPr>
            <a:spLocks noGrp="1"/>
          </p:cNvSpPr>
          <p:nvPr>
            <p:ph type="subTitle" idx="1" hasCustomPrompt="1"/>
          </p:nvPr>
        </p:nvSpPr>
        <p:spPr>
          <a:xfrm>
            <a:off x="539578" y="2673531"/>
            <a:ext cx="2878325" cy="2388994"/>
          </a:xfrm>
        </p:spPr>
        <p:txBody>
          <a:bodyPr anchor="ct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Parallelogram 7">
            <a:extLst>
              <a:ext uri="{FF2B5EF4-FFF2-40B4-BE49-F238E27FC236}">
                <a16:creationId xmlns:a16="http://schemas.microsoft.com/office/drawing/2014/main" id="{F49C8CCA-E6D3-ADC9-4E06-C58476C1D10D}"/>
              </a:ext>
            </a:extLst>
          </p:cNvPr>
          <p:cNvSpPr/>
          <p:nvPr userDrawn="1"/>
        </p:nvSpPr>
        <p:spPr>
          <a:xfrm>
            <a:off x="-1001946" y="472746"/>
            <a:ext cx="3917256" cy="1010023"/>
          </a:xfrm>
          <a:custGeom>
            <a:avLst/>
            <a:gdLst>
              <a:gd name="connsiteX0" fmla="*/ 0 w 2898843"/>
              <a:gd name="connsiteY0" fmla="*/ 346223 h 346223"/>
              <a:gd name="connsiteX1" fmla="*/ 41509 w 2898843"/>
              <a:gd name="connsiteY1" fmla="*/ 0 h 346223"/>
              <a:gd name="connsiteX2" fmla="*/ 2898843 w 2898843"/>
              <a:gd name="connsiteY2" fmla="*/ 0 h 346223"/>
              <a:gd name="connsiteX3" fmla="*/ 2857334 w 2898843"/>
              <a:gd name="connsiteY3" fmla="*/ 346223 h 346223"/>
              <a:gd name="connsiteX4" fmla="*/ 0 w 2898843"/>
              <a:gd name="connsiteY4" fmla="*/ 346223 h 346223"/>
              <a:gd name="connsiteX0" fmla="*/ 49282 w 2948125"/>
              <a:gd name="connsiteY0" fmla="*/ 346223 h 346223"/>
              <a:gd name="connsiteX1" fmla="*/ 0 w 2948125"/>
              <a:gd name="connsiteY1" fmla="*/ 0 h 346223"/>
              <a:gd name="connsiteX2" fmla="*/ 2948125 w 2948125"/>
              <a:gd name="connsiteY2" fmla="*/ 0 h 346223"/>
              <a:gd name="connsiteX3" fmla="*/ 2906616 w 2948125"/>
              <a:gd name="connsiteY3" fmla="*/ 346223 h 346223"/>
              <a:gd name="connsiteX4" fmla="*/ 49282 w 2948125"/>
              <a:gd name="connsiteY4" fmla="*/ 346223 h 346223"/>
              <a:gd name="connsiteX0" fmla="*/ 237350 w 2948125"/>
              <a:gd name="connsiteY0" fmla="*/ 210036 h 346223"/>
              <a:gd name="connsiteX1" fmla="*/ 0 w 2948125"/>
              <a:gd name="connsiteY1" fmla="*/ 0 h 346223"/>
              <a:gd name="connsiteX2" fmla="*/ 2948125 w 2948125"/>
              <a:gd name="connsiteY2" fmla="*/ 0 h 346223"/>
              <a:gd name="connsiteX3" fmla="*/ 2906616 w 2948125"/>
              <a:gd name="connsiteY3" fmla="*/ 346223 h 346223"/>
              <a:gd name="connsiteX4" fmla="*/ 237350 w 2948125"/>
              <a:gd name="connsiteY4" fmla="*/ 210036 h 346223"/>
              <a:gd name="connsiteX0" fmla="*/ 237350 w 2948125"/>
              <a:gd name="connsiteY0" fmla="*/ 210036 h 210036"/>
              <a:gd name="connsiteX1" fmla="*/ 0 w 2948125"/>
              <a:gd name="connsiteY1" fmla="*/ 0 h 210036"/>
              <a:gd name="connsiteX2" fmla="*/ 2948125 w 2948125"/>
              <a:gd name="connsiteY2" fmla="*/ 0 h 210036"/>
              <a:gd name="connsiteX3" fmla="*/ 2660182 w 2948125"/>
              <a:gd name="connsiteY3" fmla="*/ 184095 h 210036"/>
              <a:gd name="connsiteX4" fmla="*/ 237350 w 2948125"/>
              <a:gd name="connsiteY4" fmla="*/ 210036 h 210036"/>
              <a:gd name="connsiteX0" fmla="*/ 237350 w 2660182"/>
              <a:gd name="connsiteY0" fmla="*/ 210036 h 210036"/>
              <a:gd name="connsiteX1" fmla="*/ 0 w 2660182"/>
              <a:gd name="connsiteY1" fmla="*/ 0 h 210036"/>
              <a:gd name="connsiteX2" fmla="*/ 2416346 w 2660182"/>
              <a:gd name="connsiteY2" fmla="*/ 0 h 210036"/>
              <a:gd name="connsiteX3" fmla="*/ 2660182 w 2660182"/>
              <a:gd name="connsiteY3" fmla="*/ 184095 h 210036"/>
              <a:gd name="connsiteX4" fmla="*/ 237350 w 2660182"/>
              <a:gd name="connsiteY4" fmla="*/ 210036 h 210036"/>
              <a:gd name="connsiteX0" fmla="*/ 140074 w 2660182"/>
              <a:gd name="connsiteY0" fmla="*/ 177611 h 184095"/>
              <a:gd name="connsiteX1" fmla="*/ 0 w 2660182"/>
              <a:gd name="connsiteY1" fmla="*/ 0 h 184095"/>
              <a:gd name="connsiteX2" fmla="*/ 2416346 w 2660182"/>
              <a:gd name="connsiteY2" fmla="*/ 0 h 184095"/>
              <a:gd name="connsiteX3" fmla="*/ 2660182 w 2660182"/>
              <a:gd name="connsiteY3" fmla="*/ 184095 h 184095"/>
              <a:gd name="connsiteX4" fmla="*/ 140074 w 2660182"/>
              <a:gd name="connsiteY4" fmla="*/ 177611 h 184095"/>
              <a:gd name="connsiteX0" fmla="*/ 140074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40074 w 2608301"/>
              <a:gd name="connsiteY4" fmla="*/ 177611 h 177611"/>
              <a:gd name="connsiteX0" fmla="*/ 177673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77673 w 2608301"/>
              <a:gd name="connsiteY4" fmla="*/ 177611 h 177611"/>
              <a:gd name="connsiteX0" fmla="*/ 177673 w 2855381"/>
              <a:gd name="connsiteY0" fmla="*/ 177611 h 577091"/>
              <a:gd name="connsiteX1" fmla="*/ 0 w 2855381"/>
              <a:gd name="connsiteY1" fmla="*/ 0 h 577091"/>
              <a:gd name="connsiteX2" fmla="*/ 2416346 w 2855381"/>
              <a:gd name="connsiteY2" fmla="*/ 0 h 577091"/>
              <a:gd name="connsiteX3" fmla="*/ 2855381 w 2855381"/>
              <a:gd name="connsiteY3" fmla="*/ 577091 h 577091"/>
              <a:gd name="connsiteX4" fmla="*/ 177673 w 2855381"/>
              <a:gd name="connsiteY4" fmla="*/ 177611 h 577091"/>
              <a:gd name="connsiteX0" fmla="*/ 322699 w 2855381"/>
              <a:gd name="connsiteY0" fmla="*/ 575120 h 577091"/>
              <a:gd name="connsiteX1" fmla="*/ 0 w 2855381"/>
              <a:gd name="connsiteY1" fmla="*/ 0 h 577091"/>
              <a:gd name="connsiteX2" fmla="*/ 2416346 w 2855381"/>
              <a:gd name="connsiteY2" fmla="*/ 0 h 577091"/>
              <a:gd name="connsiteX3" fmla="*/ 2855381 w 2855381"/>
              <a:gd name="connsiteY3" fmla="*/ 577091 h 577091"/>
              <a:gd name="connsiteX4" fmla="*/ 322699 w 2855381"/>
              <a:gd name="connsiteY4" fmla="*/ 575120 h 577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381" h="577091">
                <a:moveTo>
                  <a:pt x="322699" y="575120"/>
                </a:moveTo>
                <a:lnTo>
                  <a:pt x="0" y="0"/>
                </a:lnTo>
                <a:lnTo>
                  <a:pt x="2416346" y="0"/>
                </a:lnTo>
                <a:lnTo>
                  <a:pt x="2855381" y="577091"/>
                </a:lnTo>
                <a:lnTo>
                  <a:pt x="322699" y="575120"/>
                </a:lnTo>
                <a:close/>
              </a:path>
            </a:pathLst>
          </a:custGeom>
          <a:solidFill>
            <a:srgbClr val="364B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
        <p:nvSpPr>
          <p:cNvPr id="2" name="Title 1"/>
          <p:cNvSpPr>
            <a:spLocks noGrp="1"/>
          </p:cNvSpPr>
          <p:nvPr>
            <p:ph type="ctrTitle" hasCustomPrompt="1"/>
          </p:nvPr>
        </p:nvSpPr>
        <p:spPr>
          <a:xfrm>
            <a:off x="543697" y="1122360"/>
            <a:ext cx="11108725" cy="2387600"/>
          </a:xfrm>
        </p:spPr>
        <p:txBody>
          <a:bodyPr anchor="t"/>
          <a:lstStyle>
            <a:lvl1pPr algn="ctr">
              <a:defRPr sz="4400">
                <a:solidFill>
                  <a:schemeClr val="bg1"/>
                </a:solidFill>
              </a:defRPr>
            </a:lvl1pPr>
          </a:lstStyle>
          <a:p>
            <a:r>
              <a:rPr lang="en-US"/>
              <a:t>CLICK TO EDIT MASTER TITLE STYLE</a:t>
            </a:r>
          </a:p>
        </p:txBody>
      </p:sp>
      <p:sp>
        <p:nvSpPr>
          <p:cNvPr id="11" name="Parallelogram 7">
            <a:extLst>
              <a:ext uri="{FF2B5EF4-FFF2-40B4-BE49-F238E27FC236}">
                <a16:creationId xmlns:a16="http://schemas.microsoft.com/office/drawing/2014/main" id="{CCE67A6B-3041-1177-67B0-7CF1CAA4CAF9}"/>
              </a:ext>
            </a:extLst>
          </p:cNvPr>
          <p:cNvSpPr/>
          <p:nvPr userDrawn="1"/>
        </p:nvSpPr>
        <p:spPr>
          <a:xfrm>
            <a:off x="9508435" y="2392017"/>
            <a:ext cx="3028122" cy="169525"/>
          </a:xfrm>
          <a:custGeom>
            <a:avLst/>
            <a:gdLst>
              <a:gd name="connsiteX0" fmla="*/ 0 w 2898843"/>
              <a:gd name="connsiteY0" fmla="*/ 346223 h 346223"/>
              <a:gd name="connsiteX1" fmla="*/ 41509 w 2898843"/>
              <a:gd name="connsiteY1" fmla="*/ 0 h 346223"/>
              <a:gd name="connsiteX2" fmla="*/ 2898843 w 2898843"/>
              <a:gd name="connsiteY2" fmla="*/ 0 h 346223"/>
              <a:gd name="connsiteX3" fmla="*/ 2857334 w 2898843"/>
              <a:gd name="connsiteY3" fmla="*/ 346223 h 346223"/>
              <a:gd name="connsiteX4" fmla="*/ 0 w 2898843"/>
              <a:gd name="connsiteY4" fmla="*/ 346223 h 346223"/>
              <a:gd name="connsiteX0" fmla="*/ 49282 w 2948125"/>
              <a:gd name="connsiteY0" fmla="*/ 346223 h 346223"/>
              <a:gd name="connsiteX1" fmla="*/ 0 w 2948125"/>
              <a:gd name="connsiteY1" fmla="*/ 0 h 346223"/>
              <a:gd name="connsiteX2" fmla="*/ 2948125 w 2948125"/>
              <a:gd name="connsiteY2" fmla="*/ 0 h 346223"/>
              <a:gd name="connsiteX3" fmla="*/ 2906616 w 2948125"/>
              <a:gd name="connsiteY3" fmla="*/ 346223 h 346223"/>
              <a:gd name="connsiteX4" fmla="*/ 49282 w 2948125"/>
              <a:gd name="connsiteY4" fmla="*/ 346223 h 346223"/>
              <a:gd name="connsiteX0" fmla="*/ 237350 w 2948125"/>
              <a:gd name="connsiteY0" fmla="*/ 210036 h 346223"/>
              <a:gd name="connsiteX1" fmla="*/ 0 w 2948125"/>
              <a:gd name="connsiteY1" fmla="*/ 0 h 346223"/>
              <a:gd name="connsiteX2" fmla="*/ 2948125 w 2948125"/>
              <a:gd name="connsiteY2" fmla="*/ 0 h 346223"/>
              <a:gd name="connsiteX3" fmla="*/ 2906616 w 2948125"/>
              <a:gd name="connsiteY3" fmla="*/ 346223 h 346223"/>
              <a:gd name="connsiteX4" fmla="*/ 237350 w 2948125"/>
              <a:gd name="connsiteY4" fmla="*/ 210036 h 346223"/>
              <a:gd name="connsiteX0" fmla="*/ 237350 w 2948125"/>
              <a:gd name="connsiteY0" fmla="*/ 210036 h 210036"/>
              <a:gd name="connsiteX1" fmla="*/ 0 w 2948125"/>
              <a:gd name="connsiteY1" fmla="*/ 0 h 210036"/>
              <a:gd name="connsiteX2" fmla="*/ 2948125 w 2948125"/>
              <a:gd name="connsiteY2" fmla="*/ 0 h 210036"/>
              <a:gd name="connsiteX3" fmla="*/ 2660182 w 2948125"/>
              <a:gd name="connsiteY3" fmla="*/ 184095 h 210036"/>
              <a:gd name="connsiteX4" fmla="*/ 237350 w 2948125"/>
              <a:gd name="connsiteY4" fmla="*/ 210036 h 210036"/>
              <a:gd name="connsiteX0" fmla="*/ 237350 w 2660182"/>
              <a:gd name="connsiteY0" fmla="*/ 210036 h 210036"/>
              <a:gd name="connsiteX1" fmla="*/ 0 w 2660182"/>
              <a:gd name="connsiteY1" fmla="*/ 0 h 210036"/>
              <a:gd name="connsiteX2" fmla="*/ 2416346 w 2660182"/>
              <a:gd name="connsiteY2" fmla="*/ 0 h 210036"/>
              <a:gd name="connsiteX3" fmla="*/ 2660182 w 2660182"/>
              <a:gd name="connsiteY3" fmla="*/ 184095 h 210036"/>
              <a:gd name="connsiteX4" fmla="*/ 237350 w 2660182"/>
              <a:gd name="connsiteY4" fmla="*/ 210036 h 210036"/>
              <a:gd name="connsiteX0" fmla="*/ 140074 w 2660182"/>
              <a:gd name="connsiteY0" fmla="*/ 177611 h 184095"/>
              <a:gd name="connsiteX1" fmla="*/ 0 w 2660182"/>
              <a:gd name="connsiteY1" fmla="*/ 0 h 184095"/>
              <a:gd name="connsiteX2" fmla="*/ 2416346 w 2660182"/>
              <a:gd name="connsiteY2" fmla="*/ 0 h 184095"/>
              <a:gd name="connsiteX3" fmla="*/ 2660182 w 2660182"/>
              <a:gd name="connsiteY3" fmla="*/ 184095 h 184095"/>
              <a:gd name="connsiteX4" fmla="*/ 140074 w 2660182"/>
              <a:gd name="connsiteY4" fmla="*/ 177611 h 184095"/>
              <a:gd name="connsiteX0" fmla="*/ 140074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40074 w 2608301"/>
              <a:gd name="connsiteY4" fmla="*/ 177611 h 177611"/>
              <a:gd name="connsiteX0" fmla="*/ 177673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77673 w 2608301"/>
              <a:gd name="connsiteY4" fmla="*/ 177611 h 17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01" h="177611">
                <a:moveTo>
                  <a:pt x="177673" y="177611"/>
                </a:moveTo>
                <a:lnTo>
                  <a:pt x="0" y="0"/>
                </a:lnTo>
                <a:lnTo>
                  <a:pt x="2416346" y="0"/>
                </a:lnTo>
                <a:lnTo>
                  <a:pt x="2608301" y="171124"/>
                </a:lnTo>
                <a:lnTo>
                  <a:pt x="177673" y="177611"/>
                </a:lnTo>
                <a:close/>
              </a:path>
            </a:pathLst>
          </a:custGeom>
          <a:solidFill>
            <a:srgbClr val="364B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
        <p:nvSpPr>
          <p:cNvPr id="13" name="Parallelogram 7">
            <a:extLst>
              <a:ext uri="{FF2B5EF4-FFF2-40B4-BE49-F238E27FC236}">
                <a16:creationId xmlns:a16="http://schemas.microsoft.com/office/drawing/2014/main" id="{8A140655-5D2F-1C53-3D08-4EF3EEF425EB}"/>
              </a:ext>
            </a:extLst>
          </p:cNvPr>
          <p:cNvSpPr/>
          <p:nvPr userDrawn="1"/>
        </p:nvSpPr>
        <p:spPr>
          <a:xfrm>
            <a:off x="-52250" y="2286001"/>
            <a:ext cx="3346911" cy="254588"/>
          </a:xfrm>
          <a:custGeom>
            <a:avLst/>
            <a:gdLst>
              <a:gd name="connsiteX0" fmla="*/ 0 w 2898843"/>
              <a:gd name="connsiteY0" fmla="*/ 346223 h 346223"/>
              <a:gd name="connsiteX1" fmla="*/ 41509 w 2898843"/>
              <a:gd name="connsiteY1" fmla="*/ 0 h 346223"/>
              <a:gd name="connsiteX2" fmla="*/ 2898843 w 2898843"/>
              <a:gd name="connsiteY2" fmla="*/ 0 h 346223"/>
              <a:gd name="connsiteX3" fmla="*/ 2857334 w 2898843"/>
              <a:gd name="connsiteY3" fmla="*/ 346223 h 346223"/>
              <a:gd name="connsiteX4" fmla="*/ 0 w 2898843"/>
              <a:gd name="connsiteY4" fmla="*/ 346223 h 346223"/>
              <a:gd name="connsiteX0" fmla="*/ 49282 w 2948125"/>
              <a:gd name="connsiteY0" fmla="*/ 346223 h 346223"/>
              <a:gd name="connsiteX1" fmla="*/ 0 w 2948125"/>
              <a:gd name="connsiteY1" fmla="*/ 0 h 346223"/>
              <a:gd name="connsiteX2" fmla="*/ 2948125 w 2948125"/>
              <a:gd name="connsiteY2" fmla="*/ 0 h 346223"/>
              <a:gd name="connsiteX3" fmla="*/ 2906616 w 2948125"/>
              <a:gd name="connsiteY3" fmla="*/ 346223 h 346223"/>
              <a:gd name="connsiteX4" fmla="*/ 49282 w 2948125"/>
              <a:gd name="connsiteY4" fmla="*/ 346223 h 346223"/>
              <a:gd name="connsiteX0" fmla="*/ 237350 w 2948125"/>
              <a:gd name="connsiteY0" fmla="*/ 210036 h 346223"/>
              <a:gd name="connsiteX1" fmla="*/ 0 w 2948125"/>
              <a:gd name="connsiteY1" fmla="*/ 0 h 346223"/>
              <a:gd name="connsiteX2" fmla="*/ 2948125 w 2948125"/>
              <a:gd name="connsiteY2" fmla="*/ 0 h 346223"/>
              <a:gd name="connsiteX3" fmla="*/ 2906616 w 2948125"/>
              <a:gd name="connsiteY3" fmla="*/ 346223 h 346223"/>
              <a:gd name="connsiteX4" fmla="*/ 237350 w 2948125"/>
              <a:gd name="connsiteY4" fmla="*/ 210036 h 346223"/>
              <a:gd name="connsiteX0" fmla="*/ 237350 w 2948125"/>
              <a:gd name="connsiteY0" fmla="*/ 210036 h 210036"/>
              <a:gd name="connsiteX1" fmla="*/ 0 w 2948125"/>
              <a:gd name="connsiteY1" fmla="*/ 0 h 210036"/>
              <a:gd name="connsiteX2" fmla="*/ 2948125 w 2948125"/>
              <a:gd name="connsiteY2" fmla="*/ 0 h 210036"/>
              <a:gd name="connsiteX3" fmla="*/ 2660182 w 2948125"/>
              <a:gd name="connsiteY3" fmla="*/ 184095 h 210036"/>
              <a:gd name="connsiteX4" fmla="*/ 237350 w 2948125"/>
              <a:gd name="connsiteY4" fmla="*/ 210036 h 210036"/>
              <a:gd name="connsiteX0" fmla="*/ 237350 w 2660182"/>
              <a:gd name="connsiteY0" fmla="*/ 210036 h 210036"/>
              <a:gd name="connsiteX1" fmla="*/ 0 w 2660182"/>
              <a:gd name="connsiteY1" fmla="*/ 0 h 210036"/>
              <a:gd name="connsiteX2" fmla="*/ 2416346 w 2660182"/>
              <a:gd name="connsiteY2" fmla="*/ 0 h 210036"/>
              <a:gd name="connsiteX3" fmla="*/ 2660182 w 2660182"/>
              <a:gd name="connsiteY3" fmla="*/ 184095 h 210036"/>
              <a:gd name="connsiteX4" fmla="*/ 237350 w 2660182"/>
              <a:gd name="connsiteY4" fmla="*/ 210036 h 210036"/>
              <a:gd name="connsiteX0" fmla="*/ 140074 w 2660182"/>
              <a:gd name="connsiteY0" fmla="*/ 177611 h 184095"/>
              <a:gd name="connsiteX1" fmla="*/ 0 w 2660182"/>
              <a:gd name="connsiteY1" fmla="*/ 0 h 184095"/>
              <a:gd name="connsiteX2" fmla="*/ 2416346 w 2660182"/>
              <a:gd name="connsiteY2" fmla="*/ 0 h 184095"/>
              <a:gd name="connsiteX3" fmla="*/ 2660182 w 2660182"/>
              <a:gd name="connsiteY3" fmla="*/ 184095 h 184095"/>
              <a:gd name="connsiteX4" fmla="*/ 140074 w 2660182"/>
              <a:gd name="connsiteY4" fmla="*/ 177611 h 184095"/>
              <a:gd name="connsiteX0" fmla="*/ 140074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40074 w 2608301"/>
              <a:gd name="connsiteY4" fmla="*/ 177611 h 177611"/>
              <a:gd name="connsiteX0" fmla="*/ 177673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77673 w 2608301"/>
              <a:gd name="connsiteY4" fmla="*/ 177611 h 177611"/>
              <a:gd name="connsiteX0" fmla="*/ 6449 w 2608301"/>
              <a:gd name="connsiteY0" fmla="*/ 191495 h 191495"/>
              <a:gd name="connsiteX1" fmla="*/ 0 w 2608301"/>
              <a:gd name="connsiteY1" fmla="*/ 0 h 191495"/>
              <a:gd name="connsiteX2" fmla="*/ 2416346 w 2608301"/>
              <a:gd name="connsiteY2" fmla="*/ 0 h 191495"/>
              <a:gd name="connsiteX3" fmla="*/ 2608301 w 2608301"/>
              <a:gd name="connsiteY3" fmla="*/ 171124 h 191495"/>
              <a:gd name="connsiteX4" fmla="*/ 6449 w 2608301"/>
              <a:gd name="connsiteY4" fmla="*/ 191495 h 191495"/>
              <a:gd name="connsiteX0" fmla="*/ 6449 w 2770208"/>
              <a:gd name="connsiteY0" fmla="*/ 191495 h 191495"/>
              <a:gd name="connsiteX1" fmla="*/ 0 w 2770208"/>
              <a:gd name="connsiteY1" fmla="*/ 0 h 191495"/>
              <a:gd name="connsiteX2" fmla="*/ 2770208 w 2770208"/>
              <a:gd name="connsiteY2" fmla="*/ 13884 h 191495"/>
              <a:gd name="connsiteX3" fmla="*/ 2608301 w 2770208"/>
              <a:gd name="connsiteY3" fmla="*/ 171124 h 191495"/>
              <a:gd name="connsiteX4" fmla="*/ 6449 w 2770208"/>
              <a:gd name="connsiteY4" fmla="*/ 191495 h 191495"/>
              <a:gd name="connsiteX0" fmla="*/ 6449 w 2853721"/>
              <a:gd name="connsiteY0" fmla="*/ 191495 h 198892"/>
              <a:gd name="connsiteX1" fmla="*/ 0 w 2853721"/>
              <a:gd name="connsiteY1" fmla="*/ 0 h 198892"/>
              <a:gd name="connsiteX2" fmla="*/ 2770208 w 2853721"/>
              <a:gd name="connsiteY2" fmla="*/ 13884 h 198892"/>
              <a:gd name="connsiteX3" fmla="*/ 2853721 w 2853721"/>
              <a:gd name="connsiteY3" fmla="*/ 198892 h 198892"/>
              <a:gd name="connsiteX4" fmla="*/ 6449 w 2853721"/>
              <a:gd name="connsiteY4" fmla="*/ 191495 h 198892"/>
              <a:gd name="connsiteX0" fmla="*/ 6449 w 2882893"/>
              <a:gd name="connsiteY0" fmla="*/ 191495 h 205733"/>
              <a:gd name="connsiteX1" fmla="*/ 0 w 2882893"/>
              <a:gd name="connsiteY1" fmla="*/ 0 h 205733"/>
              <a:gd name="connsiteX2" fmla="*/ 2770208 w 2882893"/>
              <a:gd name="connsiteY2" fmla="*/ 13884 h 205733"/>
              <a:gd name="connsiteX3" fmla="*/ 2882893 w 2882893"/>
              <a:gd name="connsiteY3" fmla="*/ 205733 h 205733"/>
              <a:gd name="connsiteX4" fmla="*/ 6449 w 2882893"/>
              <a:gd name="connsiteY4" fmla="*/ 191495 h 205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2893" h="205733">
                <a:moveTo>
                  <a:pt x="6449" y="191495"/>
                </a:moveTo>
                <a:lnTo>
                  <a:pt x="0" y="0"/>
                </a:lnTo>
                <a:lnTo>
                  <a:pt x="2770208" y="13884"/>
                </a:lnTo>
                <a:lnTo>
                  <a:pt x="2882893" y="205733"/>
                </a:lnTo>
                <a:lnTo>
                  <a:pt x="6449" y="191495"/>
                </a:lnTo>
                <a:close/>
              </a:path>
            </a:pathLst>
          </a:custGeom>
          <a:solidFill>
            <a:srgbClr val="364B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Tree>
    <p:extLst>
      <p:ext uri="{BB962C8B-B14F-4D97-AF65-F5344CB8AC3E}">
        <p14:creationId xmlns:p14="http://schemas.microsoft.com/office/powerpoint/2010/main" val="4764766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3B2B141-BEA0-288E-A7EA-6F45E9D8C250}"/>
              </a:ext>
            </a:extLst>
          </p:cNvPr>
          <p:cNvSpPr/>
          <p:nvPr userDrawn="1"/>
        </p:nvSpPr>
        <p:spPr>
          <a:xfrm>
            <a:off x="0" y="0"/>
            <a:ext cx="12192000" cy="6858000"/>
          </a:xfrm>
          <a:prstGeom prst="rect">
            <a:avLst/>
          </a:prstGeom>
          <a:solidFill>
            <a:srgbClr val="2F2F68"/>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pic>
        <p:nvPicPr>
          <p:cNvPr id="6" name="Graphic 5">
            <a:extLst>
              <a:ext uri="{FF2B5EF4-FFF2-40B4-BE49-F238E27FC236}">
                <a16:creationId xmlns:a16="http://schemas.microsoft.com/office/drawing/2014/main" id="{F09D0B6A-27F2-3CBE-8F22-C43DA2E72F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311" y="2018994"/>
            <a:ext cx="12261669" cy="2093719"/>
          </a:xfrm>
          <a:prstGeom prst="rect">
            <a:avLst/>
          </a:prstGeom>
        </p:spPr>
      </p:pic>
      <p:sp>
        <p:nvSpPr>
          <p:cNvPr id="2" name="Title 1"/>
          <p:cNvSpPr>
            <a:spLocks noGrp="1"/>
          </p:cNvSpPr>
          <p:nvPr>
            <p:ph type="ctrTitle" hasCustomPrompt="1"/>
          </p:nvPr>
        </p:nvSpPr>
        <p:spPr>
          <a:xfrm>
            <a:off x="541637" y="2673531"/>
            <a:ext cx="11108725" cy="2387600"/>
          </a:xfrm>
        </p:spPr>
        <p:txBody>
          <a:bodyPr anchor="t"/>
          <a:lstStyle>
            <a:lvl1pPr algn="ctr">
              <a:defRPr sz="4400">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539578" y="4290859"/>
            <a:ext cx="11108725" cy="2388994"/>
          </a:xfrm>
        </p:spPr>
        <p:txBody>
          <a:bodyPr anchor="t"/>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7FB77854-3AEB-EAF2-4D05-FFAE62EBE9BD}"/>
              </a:ext>
            </a:extLst>
          </p:cNvPr>
          <p:cNvSpPr/>
          <p:nvPr userDrawn="1"/>
        </p:nvSpPr>
        <p:spPr>
          <a:xfrm>
            <a:off x="-40840" y="2018993"/>
            <a:ext cx="1186775" cy="237823"/>
          </a:xfrm>
          <a:prstGeom prst="rect">
            <a:avLst/>
          </a:prstGeom>
          <a:solidFill>
            <a:srgbClr val="364B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
        <p:nvSpPr>
          <p:cNvPr id="8" name="Parallelogram 7">
            <a:extLst>
              <a:ext uri="{FF2B5EF4-FFF2-40B4-BE49-F238E27FC236}">
                <a16:creationId xmlns:a16="http://schemas.microsoft.com/office/drawing/2014/main" id="{A0A853F8-FC26-ECC5-82D1-8A754C52BC2C}"/>
              </a:ext>
            </a:extLst>
          </p:cNvPr>
          <p:cNvSpPr/>
          <p:nvPr userDrawn="1"/>
        </p:nvSpPr>
        <p:spPr>
          <a:xfrm>
            <a:off x="9263330" y="3923488"/>
            <a:ext cx="3149164" cy="272375"/>
          </a:xfrm>
          <a:custGeom>
            <a:avLst/>
            <a:gdLst>
              <a:gd name="connsiteX0" fmla="*/ 0 w 2898843"/>
              <a:gd name="connsiteY0" fmla="*/ 346223 h 346223"/>
              <a:gd name="connsiteX1" fmla="*/ 41509 w 2898843"/>
              <a:gd name="connsiteY1" fmla="*/ 0 h 346223"/>
              <a:gd name="connsiteX2" fmla="*/ 2898843 w 2898843"/>
              <a:gd name="connsiteY2" fmla="*/ 0 h 346223"/>
              <a:gd name="connsiteX3" fmla="*/ 2857334 w 2898843"/>
              <a:gd name="connsiteY3" fmla="*/ 346223 h 346223"/>
              <a:gd name="connsiteX4" fmla="*/ 0 w 2898843"/>
              <a:gd name="connsiteY4" fmla="*/ 346223 h 346223"/>
              <a:gd name="connsiteX0" fmla="*/ 49282 w 2948125"/>
              <a:gd name="connsiteY0" fmla="*/ 346223 h 346223"/>
              <a:gd name="connsiteX1" fmla="*/ 0 w 2948125"/>
              <a:gd name="connsiteY1" fmla="*/ 0 h 346223"/>
              <a:gd name="connsiteX2" fmla="*/ 2948125 w 2948125"/>
              <a:gd name="connsiteY2" fmla="*/ 0 h 346223"/>
              <a:gd name="connsiteX3" fmla="*/ 2906616 w 2948125"/>
              <a:gd name="connsiteY3" fmla="*/ 346223 h 346223"/>
              <a:gd name="connsiteX4" fmla="*/ 49282 w 2948125"/>
              <a:gd name="connsiteY4" fmla="*/ 346223 h 346223"/>
              <a:gd name="connsiteX0" fmla="*/ 237350 w 2948125"/>
              <a:gd name="connsiteY0" fmla="*/ 210036 h 346223"/>
              <a:gd name="connsiteX1" fmla="*/ 0 w 2948125"/>
              <a:gd name="connsiteY1" fmla="*/ 0 h 346223"/>
              <a:gd name="connsiteX2" fmla="*/ 2948125 w 2948125"/>
              <a:gd name="connsiteY2" fmla="*/ 0 h 346223"/>
              <a:gd name="connsiteX3" fmla="*/ 2906616 w 2948125"/>
              <a:gd name="connsiteY3" fmla="*/ 346223 h 346223"/>
              <a:gd name="connsiteX4" fmla="*/ 237350 w 2948125"/>
              <a:gd name="connsiteY4" fmla="*/ 210036 h 346223"/>
              <a:gd name="connsiteX0" fmla="*/ 237350 w 2948125"/>
              <a:gd name="connsiteY0" fmla="*/ 210036 h 210036"/>
              <a:gd name="connsiteX1" fmla="*/ 0 w 2948125"/>
              <a:gd name="connsiteY1" fmla="*/ 0 h 210036"/>
              <a:gd name="connsiteX2" fmla="*/ 2948125 w 2948125"/>
              <a:gd name="connsiteY2" fmla="*/ 0 h 210036"/>
              <a:gd name="connsiteX3" fmla="*/ 2660182 w 2948125"/>
              <a:gd name="connsiteY3" fmla="*/ 184095 h 210036"/>
              <a:gd name="connsiteX4" fmla="*/ 237350 w 2948125"/>
              <a:gd name="connsiteY4" fmla="*/ 210036 h 210036"/>
              <a:gd name="connsiteX0" fmla="*/ 237350 w 2660182"/>
              <a:gd name="connsiteY0" fmla="*/ 210036 h 210036"/>
              <a:gd name="connsiteX1" fmla="*/ 0 w 2660182"/>
              <a:gd name="connsiteY1" fmla="*/ 0 h 210036"/>
              <a:gd name="connsiteX2" fmla="*/ 2416346 w 2660182"/>
              <a:gd name="connsiteY2" fmla="*/ 0 h 210036"/>
              <a:gd name="connsiteX3" fmla="*/ 2660182 w 2660182"/>
              <a:gd name="connsiteY3" fmla="*/ 184095 h 210036"/>
              <a:gd name="connsiteX4" fmla="*/ 237350 w 2660182"/>
              <a:gd name="connsiteY4" fmla="*/ 210036 h 210036"/>
              <a:gd name="connsiteX0" fmla="*/ 140074 w 2660182"/>
              <a:gd name="connsiteY0" fmla="*/ 177611 h 184095"/>
              <a:gd name="connsiteX1" fmla="*/ 0 w 2660182"/>
              <a:gd name="connsiteY1" fmla="*/ 0 h 184095"/>
              <a:gd name="connsiteX2" fmla="*/ 2416346 w 2660182"/>
              <a:gd name="connsiteY2" fmla="*/ 0 h 184095"/>
              <a:gd name="connsiteX3" fmla="*/ 2660182 w 2660182"/>
              <a:gd name="connsiteY3" fmla="*/ 184095 h 184095"/>
              <a:gd name="connsiteX4" fmla="*/ 140074 w 2660182"/>
              <a:gd name="connsiteY4" fmla="*/ 177611 h 184095"/>
              <a:gd name="connsiteX0" fmla="*/ 140074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40074 w 2608301"/>
              <a:gd name="connsiteY4" fmla="*/ 177611 h 177611"/>
              <a:gd name="connsiteX0" fmla="*/ 177673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77673 w 2608301"/>
              <a:gd name="connsiteY4" fmla="*/ 177611 h 17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01" h="177611">
                <a:moveTo>
                  <a:pt x="177673" y="177611"/>
                </a:moveTo>
                <a:lnTo>
                  <a:pt x="0" y="0"/>
                </a:lnTo>
                <a:lnTo>
                  <a:pt x="2416346" y="0"/>
                </a:lnTo>
                <a:lnTo>
                  <a:pt x="2608301" y="171124"/>
                </a:lnTo>
                <a:lnTo>
                  <a:pt x="177673" y="177611"/>
                </a:lnTo>
                <a:close/>
              </a:path>
            </a:pathLst>
          </a:custGeom>
          <a:solidFill>
            <a:srgbClr val="2F2F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
        <p:nvSpPr>
          <p:cNvPr id="9" name="Parallelogram 7">
            <a:extLst>
              <a:ext uri="{FF2B5EF4-FFF2-40B4-BE49-F238E27FC236}">
                <a16:creationId xmlns:a16="http://schemas.microsoft.com/office/drawing/2014/main" id="{E345EF3F-CED7-0BAE-878C-EEEA83FD743B}"/>
              </a:ext>
            </a:extLst>
          </p:cNvPr>
          <p:cNvSpPr/>
          <p:nvPr userDrawn="1"/>
        </p:nvSpPr>
        <p:spPr>
          <a:xfrm>
            <a:off x="7781482" y="1808263"/>
            <a:ext cx="4799623" cy="299421"/>
          </a:xfrm>
          <a:custGeom>
            <a:avLst/>
            <a:gdLst>
              <a:gd name="connsiteX0" fmla="*/ 0 w 2898843"/>
              <a:gd name="connsiteY0" fmla="*/ 346223 h 346223"/>
              <a:gd name="connsiteX1" fmla="*/ 41509 w 2898843"/>
              <a:gd name="connsiteY1" fmla="*/ 0 h 346223"/>
              <a:gd name="connsiteX2" fmla="*/ 2898843 w 2898843"/>
              <a:gd name="connsiteY2" fmla="*/ 0 h 346223"/>
              <a:gd name="connsiteX3" fmla="*/ 2857334 w 2898843"/>
              <a:gd name="connsiteY3" fmla="*/ 346223 h 346223"/>
              <a:gd name="connsiteX4" fmla="*/ 0 w 2898843"/>
              <a:gd name="connsiteY4" fmla="*/ 346223 h 346223"/>
              <a:gd name="connsiteX0" fmla="*/ 49282 w 2948125"/>
              <a:gd name="connsiteY0" fmla="*/ 346223 h 346223"/>
              <a:gd name="connsiteX1" fmla="*/ 0 w 2948125"/>
              <a:gd name="connsiteY1" fmla="*/ 0 h 346223"/>
              <a:gd name="connsiteX2" fmla="*/ 2948125 w 2948125"/>
              <a:gd name="connsiteY2" fmla="*/ 0 h 346223"/>
              <a:gd name="connsiteX3" fmla="*/ 2906616 w 2948125"/>
              <a:gd name="connsiteY3" fmla="*/ 346223 h 346223"/>
              <a:gd name="connsiteX4" fmla="*/ 49282 w 2948125"/>
              <a:gd name="connsiteY4" fmla="*/ 346223 h 346223"/>
              <a:gd name="connsiteX0" fmla="*/ 237350 w 2948125"/>
              <a:gd name="connsiteY0" fmla="*/ 210036 h 346223"/>
              <a:gd name="connsiteX1" fmla="*/ 0 w 2948125"/>
              <a:gd name="connsiteY1" fmla="*/ 0 h 346223"/>
              <a:gd name="connsiteX2" fmla="*/ 2948125 w 2948125"/>
              <a:gd name="connsiteY2" fmla="*/ 0 h 346223"/>
              <a:gd name="connsiteX3" fmla="*/ 2906616 w 2948125"/>
              <a:gd name="connsiteY3" fmla="*/ 346223 h 346223"/>
              <a:gd name="connsiteX4" fmla="*/ 237350 w 2948125"/>
              <a:gd name="connsiteY4" fmla="*/ 210036 h 346223"/>
              <a:gd name="connsiteX0" fmla="*/ 237350 w 2948125"/>
              <a:gd name="connsiteY0" fmla="*/ 210036 h 210036"/>
              <a:gd name="connsiteX1" fmla="*/ 0 w 2948125"/>
              <a:gd name="connsiteY1" fmla="*/ 0 h 210036"/>
              <a:gd name="connsiteX2" fmla="*/ 2948125 w 2948125"/>
              <a:gd name="connsiteY2" fmla="*/ 0 h 210036"/>
              <a:gd name="connsiteX3" fmla="*/ 2660182 w 2948125"/>
              <a:gd name="connsiteY3" fmla="*/ 184095 h 210036"/>
              <a:gd name="connsiteX4" fmla="*/ 237350 w 2948125"/>
              <a:gd name="connsiteY4" fmla="*/ 210036 h 210036"/>
              <a:gd name="connsiteX0" fmla="*/ 237350 w 2660182"/>
              <a:gd name="connsiteY0" fmla="*/ 210036 h 210036"/>
              <a:gd name="connsiteX1" fmla="*/ 0 w 2660182"/>
              <a:gd name="connsiteY1" fmla="*/ 0 h 210036"/>
              <a:gd name="connsiteX2" fmla="*/ 2416346 w 2660182"/>
              <a:gd name="connsiteY2" fmla="*/ 0 h 210036"/>
              <a:gd name="connsiteX3" fmla="*/ 2660182 w 2660182"/>
              <a:gd name="connsiteY3" fmla="*/ 184095 h 210036"/>
              <a:gd name="connsiteX4" fmla="*/ 237350 w 2660182"/>
              <a:gd name="connsiteY4" fmla="*/ 210036 h 210036"/>
              <a:gd name="connsiteX0" fmla="*/ 140074 w 2660182"/>
              <a:gd name="connsiteY0" fmla="*/ 177611 h 184095"/>
              <a:gd name="connsiteX1" fmla="*/ 0 w 2660182"/>
              <a:gd name="connsiteY1" fmla="*/ 0 h 184095"/>
              <a:gd name="connsiteX2" fmla="*/ 2416346 w 2660182"/>
              <a:gd name="connsiteY2" fmla="*/ 0 h 184095"/>
              <a:gd name="connsiteX3" fmla="*/ 2660182 w 2660182"/>
              <a:gd name="connsiteY3" fmla="*/ 184095 h 184095"/>
              <a:gd name="connsiteX4" fmla="*/ 140074 w 2660182"/>
              <a:gd name="connsiteY4" fmla="*/ 177611 h 184095"/>
              <a:gd name="connsiteX0" fmla="*/ 140074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40074 w 2608301"/>
              <a:gd name="connsiteY4" fmla="*/ 177611 h 177611"/>
              <a:gd name="connsiteX0" fmla="*/ 177673 w 2608301"/>
              <a:gd name="connsiteY0" fmla="*/ 177611 h 177611"/>
              <a:gd name="connsiteX1" fmla="*/ 0 w 2608301"/>
              <a:gd name="connsiteY1" fmla="*/ 0 h 177611"/>
              <a:gd name="connsiteX2" fmla="*/ 2416346 w 2608301"/>
              <a:gd name="connsiteY2" fmla="*/ 0 h 177611"/>
              <a:gd name="connsiteX3" fmla="*/ 2608301 w 2608301"/>
              <a:gd name="connsiteY3" fmla="*/ 171124 h 177611"/>
              <a:gd name="connsiteX4" fmla="*/ 177673 w 2608301"/>
              <a:gd name="connsiteY4" fmla="*/ 177611 h 177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8301" h="177611">
                <a:moveTo>
                  <a:pt x="177673" y="177611"/>
                </a:moveTo>
                <a:lnTo>
                  <a:pt x="0" y="0"/>
                </a:lnTo>
                <a:lnTo>
                  <a:pt x="2416346" y="0"/>
                </a:lnTo>
                <a:lnTo>
                  <a:pt x="2608301" y="171124"/>
                </a:lnTo>
                <a:lnTo>
                  <a:pt x="177673" y="177611"/>
                </a:lnTo>
                <a:close/>
              </a:path>
            </a:pathLst>
          </a:custGeom>
          <a:solidFill>
            <a:srgbClr val="364B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err="1">
              <a:cs typeface="Gill Sans Regular" panose="020B0502020104020203"/>
            </a:endParaRPr>
          </a:p>
        </p:txBody>
      </p:sp>
    </p:spTree>
    <p:extLst>
      <p:ext uri="{BB962C8B-B14F-4D97-AF65-F5344CB8AC3E}">
        <p14:creationId xmlns:p14="http://schemas.microsoft.com/office/powerpoint/2010/main" val="1461825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DD3EAD2-9FA0-E1A5-6478-2DE53E5523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837" y="-1971"/>
            <a:ext cx="12001476" cy="1778515"/>
          </a:xfrm>
          <a:prstGeom prst="rect">
            <a:avLst/>
          </a:prstGeom>
        </p:spPr>
      </p:pic>
      <p:sp>
        <p:nvSpPr>
          <p:cNvPr id="2" name="Title 1"/>
          <p:cNvSpPr>
            <a:spLocks noGrp="1"/>
          </p:cNvSpPr>
          <p:nvPr>
            <p:ph type="title" hasCustomPrompt="1"/>
          </p:nvPr>
        </p:nvSpPr>
        <p:spPr>
          <a:xfrm>
            <a:off x="543697" y="608966"/>
            <a:ext cx="11096368" cy="957048"/>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543697" y="1959429"/>
            <a:ext cx="11096368" cy="421753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60346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3697" y="1709738"/>
            <a:ext cx="11096368" cy="2852737"/>
          </a:xfrm>
        </p:spPr>
        <p:txBody>
          <a:bodyPr anchor="b"/>
          <a:lstStyle>
            <a:lvl1pPr>
              <a:defRPr sz="6000">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543697" y="4589463"/>
            <a:ext cx="11096368" cy="1500187"/>
          </a:xfrm>
        </p:spPr>
        <p:txBody>
          <a:bodyPr/>
          <a:lstStyle>
            <a:lvl1pPr marL="0" indent="0" algn="ctr">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175320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74D6810-AD2A-1009-90B9-1D2162E05F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837" y="-1971"/>
            <a:ext cx="12001476" cy="1778515"/>
          </a:xfrm>
          <a:prstGeom prst="rect">
            <a:avLst/>
          </a:prstGeom>
        </p:spPr>
      </p:pic>
      <p:sp>
        <p:nvSpPr>
          <p:cNvPr id="2" name="Title 1"/>
          <p:cNvSpPr>
            <a:spLocks noGrp="1"/>
          </p:cNvSpPr>
          <p:nvPr>
            <p:ph type="title" hasCustomPrompt="1"/>
          </p:nvPr>
        </p:nvSpPr>
        <p:spPr>
          <a:xfrm>
            <a:off x="543696" y="609599"/>
            <a:ext cx="11096368" cy="764825"/>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543697" y="1950719"/>
            <a:ext cx="5476103" cy="4226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199" y="1950719"/>
            <a:ext cx="5467865" cy="4226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91301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43698" y="1985993"/>
            <a:ext cx="5453878" cy="51908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43698" y="2505075"/>
            <a:ext cx="545387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199" y="1985993"/>
            <a:ext cx="5467865" cy="51908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46786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0BA22AB3-3C54-6AD6-D251-AC7BC38099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837" y="-1971"/>
            <a:ext cx="12001476" cy="1778515"/>
          </a:xfrm>
          <a:prstGeom prst="rect">
            <a:avLst/>
          </a:prstGeom>
        </p:spPr>
      </p:pic>
      <p:sp>
        <p:nvSpPr>
          <p:cNvPr id="8" name="Title 1">
            <a:extLst>
              <a:ext uri="{FF2B5EF4-FFF2-40B4-BE49-F238E27FC236}">
                <a16:creationId xmlns:a16="http://schemas.microsoft.com/office/drawing/2014/main" id="{D0E2F629-AD75-94B8-E097-1B571F211C05}"/>
              </a:ext>
            </a:extLst>
          </p:cNvPr>
          <p:cNvSpPr>
            <a:spLocks noGrp="1"/>
          </p:cNvSpPr>
          <p:nvPr>
            <p:ph type="title" hasCustomPrompt="1"/>
          </p:nvPr>
        </p:nvSpPr>
        <p:spPr>
          <a:xfrm>
            <a:off x="543696" y="609599"/>
            <a:ext cx="11096368" cy="764825"/>
          </a:xfrm>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35035727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47B7C10C-F397-8A36-A45E-27F789270D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837" y="-1971"/>
            <a:ext cx="12001476" cy="1778515"/>
          </a:xfrm>
          <a:prstGeom prst="rect">
            <a:avLst/>
          </a:prstGeom>
        </p:spPr>
      </p:pic>
      <p:sp>
        <p:nvSpPr>
          <p:cNvPr id="4" name="Title 1">
            <a:extLst>
              <a:ext uri="{FF2B5EF4-FFF2-40B4-BE49-F238E27FC236}">
                <a16:creationId xmlns:a16="http://schemas.microsoft.com/office/drawing/2014/main" id="{0C44D991-BCC4-2833-01C2-0E38F52A1C2F}"/>
              </a:ext>
            </a:extLst>
          </p:cNvPr>
          <p:cNvSpPr>
            <a:spLocks noGrp="1"/>
          </p:cNvSpPr>
          <p:nvPr>
            <p:ph type="title" hasCustomPrompt="1"/>
          </p:nvPr>
        </p:nvSpPr>
        <p:spPr>
          <a:xfrm>
            <a:off x="543696" y="609599"/>
            <a:ext cx="11096368" cy="764825"/>
          </a:xfrm>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218375846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5017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3698" y="457200"/>
            <a:ext cx="4228328" cy="1600200"/>
          </a:xfrm>
        </p:spPr>
        <p:txBody>
          <a:bodyPr anchor="t"/>
          <a:lstStyle>
            <a:lvl1pPr>
              <a:defRPr sz="3200">
                <a:solidFill>
                  <a:schemeClr val="tx1"/>
                </a:solidFill>
              </a:defRPr>
            </a:lvl1pPr>
          </a:lstStyle>
          <a:p>
            <a:r>
              <a:rPr lang="en-US"/>
              <a:t>CLICK TO EDIT MASTER TITLE STYLE</a:t>
            </a:r>
          </a:p>
        </p:txBody>
      </p:sp>
      <p:sp>
        <p:nvSpPr>
          <p:cNvPr id="3" name="Content Placeholder 2"/>
          <p:cNvSpPr>
            <a:spLocks noGrp="1"/>
          </p:cNvSpPr>
          <p:nvPr>
            <p:ph idx="1"/>
          </p:nvPr>
        </p:nvSpPr>
        <p:spPr>
          <a:xfrm>
            <a:off x="5183188" y="457201"/>
            <a:ext cx="644452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3698" y="2057400"/>
            <a:ext cx="422832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481006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3698" y="457200"/>
            <a:ext cx="4228328" cy="1600200"/>
          </a:xfrm>
        </p:spPr>
        <p:txBody>
          <a:bodyPr anchor="t"/>
          <a:lstStyle>
            <a:lvl1pPr>
              <a:defRPr sz="3200">
                <a:solidFill>
                  <a:schemeClr val="tx1"/>
                </a:solidFill>
              </a:defRPr>
            </a:lvl1pPr>
          </a:lstStyle>
          <a:p>
            <a:r>
              <a:rPr lang="en-US"/>
              <a:t>CLICK TO EDIT MASTER TITLE STYLE</a:t>
            </a:r>
          </a:p>
        </p:txBody>
      </p:sp>
      <p:sp>
        <p:nvSpPr>
          <p:cNvPr id="3" name="Picture Placeholder 2"/>
          <p:cNvSpPr>
            <a:spLocks noGrp="1" noChangeAspect="1"/>
          </p:cNvSpPr>
          <p:nvPr>
            <p:ph type="pic" idx="1"/>
          </p:nvPr>
        </p:nvSpPr>
        <p:spPr>
          <a:xfrm>
            <a:off x="5183187" y="457201"/>
            <a:ext cx="6456877" cy="540385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543698" y="2057400"/>
            <a:ext cx="422832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374605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CDF900-C3CA-498C-B98C-E4265F4A65DF}"/>
              </a:ext>
            </a:extLst>
          </p:cNvPr>
          <p:cNvSpPr>
            <a:spLocks noGrp="1"/>
          </p:cNvSpPr>
          <p:nvPr>
            <p:ph type="title"/>
          </p:nvPr>
        </p:nvSpPr>
        <p:spPr/>
        <p:txBody>
          <a:bodyPr/>
          <a:lstStyle>
            <a:lvl1pPr>
              <a:defRPr sz="3600"/>
            </a:lvl1pPr>
          </a:lstStyle>
          <a:p>
            <a:endParaRPr lang="en-US"/>
          </a:p>
        </p:txBody>
      </p:sp>
      <p:sp>
        <p:nvSpPr>
          <p:cNvPr id="4" name="Text Placeholder 8"/>
          <p:cNvSpPr>
            <a:spLocks noGrp="1"/>
          </p:cNvSpPr>
          <p:nvPr>
            <p:ph type="body" sz="quarter" idx="14"/>
          </p:nvPr>
        </p:nvSpPr>
        <p:spPr>
          <a:xfrm>
            <a:off x="551122" y="1014101"/>
            <a:ext cx="11070607"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3062142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SPACER">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0" b="1">
              <a:solidFill>
                <a:schemeClr val="accent2"/>
              </a:solidFill>
              <a:latin typeface="Gill Sans MT" pitchFamily="34" charset="0"/>
              <a:ea typeface="+mj-ea"/>
              <a:cs typeface="+mj-cs"/>
            </a:endParaRPr>
          </a:p>
        </p:txBody>
      </p:sp>
      <p:sp>
        <p:nvSpPr>
          <p:cNvPr id="6" name="Title 1"/>
          <p:cNvSpPr>
            <a:spLocks noGrp="1"/>
          </p:cNvSpPr>
          <p:nvPr>
            <p:ph type="title" hasCustomPrompt="1"/>
          </p:nvPr>
        </p:nvSpPr>
        <p:spPr>
          <a:xfrm>
            <a:off x="543697" y="2289175"/>
            <a:ext cx="11096367" cy="3082925"/>
          </a:xfrm>
        </p:spPr>
        <p:txBody>
          <a:bodyPr lIns="0" tIns="0" rIns="0" bIns="0" anchor="t" anchorCtr="0">
            <a:noAutofit/>
          </a:bodyPr>
          <a:lstStyle>
            <a:lvl1pPr algn="ctr">
              <a:lnSpc>
                <a:spcPts val="4800"/>
              </a:lnSpc>
              <a:defRPr sz="4800" b="0" cap="none" baseline="0">
                <a:solidFill>
                  <a:schemeClr val="bg1"/>
                </a:solidFill>
                <a:latin typeface="+mj-lt"/>
              </a:defRPr>
            </a:lvl1pPr>
          </a:lstStyle>
          <a:p>
            <a:r>
              <a:rPr lang="en-US"/>
              <a:t>SPACER SLIDE FOR A NEW SECTION OF  YOUR PRESENTATION</a:t>
            </a:r>
          </a:p>
        </p:txBody>
      </p:sp>
    </p:spTree>
    <p:extLst>
      <p:ext uri="{BB962C8B-B14F-4D97-AF65-F5344CB8AC3E}">
        <p14:creationId xmlns:p14="http://schemas.microsoft.com/office/powerpoint/2010/main" val="30534085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CDF900-C3CA-498C-B98C-E4265F4A65DF}"/>
              </a:ext>
            </a:extLst>
          </p:cNvPr>
          <p:cNvSpPr>
            <a:spLocks noGrp="1"/>
          </p:cNvSpPr>
          <p:nvPr>
            <p:ph type="title"/>
          </p:nvPr>
        </p:nvSpPr>
        <p:spPr/>
        <p:txBody>
          <a:bodyPr/>
          <a:lstStyle>
            <a:lvl1pPr>
              <a:defRPr sz="3600"/>
            </a:lvl1pPr>
          </a:lstStyle>
          <a:p>
            <a:endParaRPr lang="en-US"/>
          </a:p>
        </p:txBody>
      </p:sp>
      <p:sp>
        <p:nvSpPr>
          <p:cNvPr id="4" name="Text Placeholder 8"/>
          <p:cNvSpPr>
            <a:spLocks noGrp="1"/>
          </p:cNvSpPr>
          <p:nvPr>
            <p:ph type="body" sz="quarter" idx="14"/>
          </p:nvPr>
        </p:nvSpPr>
        <p:spPr>
          <a:xfrm>
            <a:off x="551122" y="1014101"/>
            <a:ext cx="11070607"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1267098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8339868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98188623"/>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Divider - Deloitte dark blue">
    <p:bg bwMode="gray">
      <p:bgRef idx="1001">
        <a:schemeClr val="bg1"/>
      </p:bgRef>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pic>
        <p:nvPicPr>
          <p:cNvPr id="7" name="Picture 6">
            <a:extLst>
              <a:ext uri="{FF2B5EF4-FFF2-40B4-BE49-F238E27FC236}">
                <a16:creationId xmlns:a16="http://schemas.microsoft.com/office/drawing/2014/main" id="{6AA92F43-CC2A-42BD-A418-9CAF1331F58D}"/>
              </a:ext>
            </a:extLst>
          </p:cNvPr>
          <p:cNvPicPr>
            <a:picLocks noChangeAspect="1"/>
          </p:cNvPicPr>
          <p:nvPr userDrawn="1"/>
        </p:nvPicPr>
        <p:blipFill>
          <a:blip r:embed="rId2"/>
          <a:stretch>
            <a:fillRect/>
          </a:stretch>
        </p:blipFill>
        <p:spPr>
          <a:xfrm>
            <a:off x="11339245" y="6254286"/>
            <a:ext cx="493776" cy="497173"/>
          </a:xfrm>
          <a:prstGeom prst="rect">
            <a:avLst/>
          </a:prstGeom>
        </p:spPr>
      </p:pic>
      <p:sp>
        <p:nvSpPr>
          <p:cNvPr id="8" name="TextBox 7">
            <a:extLst>
              <a:ext uri="{FF2B5EF4-FFF2-40B4-BE49-F238E27FC236}">
                <a16:creationId xmlns:a16="http://schemas.microsoft.com/office/drawing/2014/main" id="{CCCB57EB-B4A6-48F7-955B-7EE1F4271781}"/>
              </a:ext>
            </a:extLst>
          </p:cNvPr>
          <p:cNvSpPr txBox="1"/>
          <p:nvPr userDrawn="1"/>
        </p:nvSpPr>
        <p:spPr>
          <a:xfrm>
            <a:off x="7089915" y="6364134"/>
            <a:ext cx="4172431" cy="153888"/>
          </a:xfrm>
          <a:prstGeom prst="rect">
            <a:avLst/>
          </a:prstGeom>
          <a:noFill/>
        </p:spPr>
        <p:txBody>
          <a:bodyPr wrap="square" lIns="0" tIns="0" rIns="0" bIns="0" rtlCol="0">
            <a:spAutoFit/>
          </a:bodyPr>
          <a:lstStyle/>
          <a:p>
            <a:pPr algn="r">
              <a:spcBef>
                <a:spcPts val="600"/>
              </a:spcBef>
              <a:buSzPct val="100000"/>
            </a:pPr>
            <a:r>
              <a:rPr lang="en-US" sz="1000" spc="300">
                <a:latin typeface="Segoe UI Light" panose="020B0502040204020203" pitchFamily="34" charset="0"/>
                <a:cs typeface="Segoe UI Light" panose="020B0502040204020203" pitchFamily="34" charset="0"/>
              </a:rPr>
              <a:t>U.S. DEPARTMENT OF TRANSPORTATION</a:t>
            </a:r>
          </a:p>
        </p:txBody>
      </p:sp>
      <p:pic>
        <p:nvPicPr>
          <p:cNvPr id="9" name="Picture 8">
            <a:extLst>
              <a:ext uri="{FF2B5EF4-FFF2-40B4-BE49-F238E27FC236}">
                <a16:creationId xmlns:a16="http://schemas.microsoft.com/office/drawing/2014/main" id="{80917C39-BB3A-4E83-8871-1B485B956598}"/>
              </a:ext>
            </a:extLst>
          </p:cNvPr>
          <p:cNvPicPr>
            <a:picLocks noChangeAspect="1"/>
          </p:cNvPicPr>
          <p:nvPr userDrawn="1"/>
        </p:nvPicPr>
        <p:blipFill>
          <a:blip r:embed="rId3"/>
          <a:stretch>
            <a:fillRect/>
          </a:stretch>
        </p:blipFill>
        <p:spPr>
          <a:xfrm>
            <a:off x="219674" y="6256942"/>
            <a:ext cx="493776" cy="494514"/>
          </a:xfrm>
          <a:prstGeom prst="rect">
            <a:avLst/>
          </a:prstGeom>
        </p:spPr>
      </p:pic>
      <p:sp>
        <p:nvSpPr>
          <p:cNvPr id="10" name="TextBox 9">
            <a:extLst>
              <a:ext uri="{FF2B5EF4-FFF2-40B4-BE49-F238E27FC236}">
                <a16:creationId xmlns:a16="http://schemas.microsoft.com/office/drawing/2014/main" id="{3C61D5E9-3528-4AAE-92B2-872669D12B45}"/>
              </a:ext>
            </a:extLst>
          </p:cNvPr>
          <p:cNvSpPr txBox="1"/>
          <p:nvPr userDrawn="1"/>
        </p:nvSpPr>
        <p:spPr>
          <a:xfrm>
            <a:off x="1008074" y="6317969"/>
            <a:ext cx="4172431" cy="353943"/>
          </a:xfrm>
          <a:prstGeom prst="rect">
            <a:avLst/>
          </a:prstGeom>
          <a:noFill/>
        </p:spPr>
        <p:txBody>
          <a:bodyPr wrap="square" lIns="0" tIns="0" rIns="0" bIns="0" rtlCol="0">
            <a:spAutoFit/>
          </a:bodyPr>
          <a:lstStyle/>
          <a:p>
            <a:pPr>
              <a:buSzPct val="100000"/>
            </a:pPr>
            <a:r>
              <a:rPr lang="en-US" sz="1000" spc="300">
                <a:latin typeface="Segoe UI Light" panose="020B0502040204020203" pitchFamily="34" charset="0"/>
                <a:cs typeface="Segoe UI Light" panose="020B0502040204020203" pitchFamily="34" charset="0"/>
              </a:rPr>
              <a:t>R.O.U.T.E.S.</a:t>
            </a:r>
          </a:p>
          <a:p>
            <a:pPr>
              <a:buSzPct val="100000"/>
            </a:pPr>
            <a:r>
              <a:rPr lang="en-US" sz="650" spc="300">
                <a:latin typeface="Segoe UI Light" panose="020B0502040204020203" pitchFamily="34" charset="0"/>
                <a:cs typeface="Segoe UI Light" panose="020B0502040204020203" pitchFamily="34" charset="0"/>
              </a:rPr>
              <a:t>RURAL OPPORTUNITIES TO USE TRANSPORTATION FOR ECONOMIC SUCCESS</a:t>
            </a:r>
          </a:p>
        </p:txBody>
      </p:sp>
      <p:sp>
        <p:nvSpPr>
          <p:cNvPr id="11" name="TextBox 10">
            <a:extLst>
              <a:ext uri="{FF2B5EF4-FFF2-40B4-BE49-F238E27FC236}">
                <a16:creationId xmlns:a16="http://schemas.microsoft.com/office/drawing/2014/main" id="{6C766ABD-2E6B-40A4-972E-7BD30DB10869}"/>
              </a:ext>
            </a:extLst>
          </p:cNvPr>
          <p:cNvSpPr txBox="1"/>
          <p:nvPr userDrawn="1"/>
        </p:nvSpPr>
        <p:spPr>
          <a:xfrm>
            <a:off x="5942015" y="6364132"/>
            <a:ext cx="307975" cy="153888"/>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1000" noProof="0" smtClean="0">
                <a:solidFill>
                  <a:schemeClr val="tx1"/>
                </a:solidFill>
                <a:latin typeface="Segoe UI Light" panose="020B0502040204020203" pitchFamily="34" charset="0"/>
                <a:cs typeface="Segoe UI Light" panose="020B0502040204020203" pitchFamily="34" charset="0"/>
              </a:rPr>
              <a:pPr marL="0" indent="0" algn="ctr">
                <a:spcBef>
                  <a:spcPts val="600"/>
                </a:spcBef>
                <a:buSzPct val="100000"/>
                <a:buFont typeface="Arial"/>
                <a:buNone/>
              </a:pPr>
              <a:t>‹#›</a:t>
            </a:fld>
            <a:endParaRPr lang="en-US" sz="1000" noProof="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1013085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1931605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92317989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3117341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335487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A116130C-0494-47D3-8229-07CF2B58E80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1493002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2" y="1241232"/>
            <a:ext cx="1649919"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6"/>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1"/>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1" y="266065"/>
            <a:ext cx="10358711"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6" y="145065"/>
            <a:ext cx="775252" cy="660400"/>
          </a:xfrm>
          <a:prstGeom prst="rect">
            <a:avLst/>
          </a:prstGeom>
        </p:spPr>
      </p:pic>
    </p:spTree>
    <p:extLst>
      <p:ext uri="{BB962C8B-B14F-4D97-AF65-F5344CB8AC3E}">
        <p14:creationId xmlns:p14="http://schemas.microsoft.com/office/powerpoint/2010/main" val="11732420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0370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46926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5145191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598281"/>
      </p:ext>
    </p:extLst>
  </p:cSld>
  <p:clrMapOvr>
    <a:masterClrMapping/>
  </p:clrMapOvr>
  <p:transition>
    <p:fade/>
  </p:transition>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9569573"/>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81866816"/>
      </p:ext>
    </p:extLst>
  </p:cSld>
  <p:clrMapOvr>
    <a:masterClrMapping/>
  </p:clrMapOvr>
  <p:transition>
    <p:fade/>
  </p:transition>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6649956"/>
      </p:ext>
    </p:extLst>
  </p:cSld>
  <p:clrMapOvr>
    <a:masterClrMapping/>
  </p:clrMapOvr>
  <p:transition>
    <p:fade/>
  </p:transition>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11281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81769725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1539090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1.png"/><Relationship Id="rId4" Type="http://schemas.openxmlformats.org/officeDocument/2006/relationships/slideLayout" Target="../slideLayouts/slideLayout1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oleObject" Target="../embeddings/oleObject1.bin"/><Relationship Id="rId50" Type="http://schemas.openxmlformats.org/officeDocument/2006/relationships/image" Target="../media/image7.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tags" Target="../tags/tag1.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slideLayout" Target="../slideLayouts/slideLayout6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theme" Target="../theme/theme5.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image" Target="../media/image6.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image" Target="../media/image5.emf"/><Relationship Id="rId8"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9.png"/><Relationship Id="rId3" Type="http://schemas.openxmlformats.org/officeDocument/2006/relationships/slideLayout" Target="../slideLayouts/slideLayout72.xml"/><Relationship Id="rId21" Type="http://schemas.openxmlformats.org/officeDocument/2006/relationships/image" Target="../media/image12.svg"/><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ags" Target="../tags/tag2.xml"/><Relationship Id="rId2" Type="http://schemas.openxmlformats.org/officeDocument/2006/relationships/slideLayout" Target="../slideLayouts/slideLayout71.xml"/><Relationship Id="rId16" Type="http://schemas.openxmlformats.org/officeDocument/2006/relationships/theme" Target="../theme/theme6.xml"/><Relationship Id="rId20" Type="http://schemas.openxmlformats.org/officeDocument/2006/relationships/image" Target="../media/image11.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image" Target="../media/image10.svg"/><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tags" Target="../tags/tag3.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theme" Target="../theme/theme7.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image" Target="../media/image5.emf"/><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8" Type="http://schemas.openxmlformats.org/officeDocument/2006/relationships/slideLayout" Target="../slideLayouts/slideLayout92.xml"/><Relationship Id="rId51"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6" y="7689"/>
            <a:ext cx="4354434" cy="739445"/>
          </a:xfrm>
          <a:prstGeom prst="rect">
            <a:avLst/>
          </a:prstGeom>
          <a:solidFill>
            <a:schemeClr val="tx1">
              <a:lumMod val="50000"/>
              <a:lumOff val="5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elay 10"/>
          <p:cNvSpPr/>
          <p:nvPr userDrawn="1"/>
        </p:nvSpPr>
        <p:spPr>
          <a:xfrm>
            <a:off x="7662188" y="7689"/>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0" y="7678"/>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1"/>
            <a:ext cx="7449130"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13"/>
          <a:srcRect l="5102" t="12781" r="5629"/>
          <a:stretch/>
        </p:blipFill>
        <p:spPr>
          <a:xfrm>
            <a:off x="158799" y="106259"/>
            <a:ext cx="510274" cy="523953"/>
          </a:xfrm>
          <a:prstGeom prst="rect">
            <a:avLst/>
          </a:prstGeom>
        </p:spPr>
      </p:pic>
      <p:sp>
        <p:nvSpPr>
          <p:cNvPr id="2" name="Title Placeholder 1"/>
          <p:cNvSpPr>
            <a:spLocks noGrp="1"/>
          </p:cNvSpPr>
          <p:nvPr>
            <p:ph type="title"/>
          </p:nvPr>
        </p:nvSpPr>
        <p:spPr>
          <a:xfrm>
            <a:off x="838200" y="141767"/>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411620979"/>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40" r:id="rId5"/>
    <p:sldLayoutId id="2147483918" r:id="rId6"/>
    <p:sldLayoutId id="2147483930" r:id="rId7"/>
    <p:sldLayoutId id="2147483929" r:id="rId8"/>
    <p:sldLayoutId id="2147484056" r:id="rId9"/>
    <p:sldLayoutId id="2147484057" r:id="rId10"/>
    <p:sldLayoutId id="2147484145" r:id="rId1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1" y="2474159"/>
            <a:ext cx="12192001" cy="1645920"/>
            <a:chOff x="0" y="2474159"/>
            <a:chExt cx="12192001" cy="1645920"/>
          </a:xfrm>
        </p:grpSpPr>
        <p:sp>
          <p:nvSpPr>
            <p:cNvPr id="9" name="Rectangle 8"/>
            <p:cNvSpPr/>
            <p:nvPr userDrawn="1"/>
          </p:nvSpPr>
          <p:spPr>
            <a:xfrm>
              <a:off x="7053699" y="2562519"/>
              <a:ext cx="5138302" cy="1469200"/>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Delay 9"/>
            <p:cNvSpPr/>
            <p:nvPr userDrawn="1"/>
          </p:nvSpPr>
          <p:spPr>
            <a:xfrm>
              <a:off x="6383679" y="2474159"/>
              <a:ext cx="1645920" cy="1645920"/>
            </a:xfrm>
            <a:prstGeom prst="flowChartDelay">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8" name="Flowchart: Delay 7"/>
            <p:cNvSpPr/>
            <p:nvPr userDrawn="1"/>
          </p:nvSpPr>
          <p:spPr>
            <a:xfrm>
              <a:off x="6297051" y="2562522"/>
              <a:ext cx="1458227" cy="1469197"/>
            </a:xfrm>
            <a:prstGeom prst="flowChartDelay">
              <a:avLst/>
            </a:prstGeom>
            <a:solidFill>
              <a:srgbClr val="124559"/>
            </a:solidFill>
            <a:ln>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4" name="Rectangle 3"/>
            <p:cNvSpPr/>
            <p:nvPr userDrawn="1"/>
          </p:nvSpPr>
          <p:spPr>
            <a:xfrm>
              <a:off x="0" y="2562519"/>
              <a:ext cx="6297051" cy="1469200"/>
            </a:xfrm>
            <a:prstGeom prst="rect">
              <a:avLst/>
            </a:prstGeom>
            <a:solidFill>
              <a:srgbClr val="124559"/>
            </a:solidFill>
            <a:ln>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3"/>
          <p:cNvSpPr>
            <a:spLocks noGrp="1"/>
          </p:cNvSpPr>
          <p:nvPr>
            <p:ph type="sldNum" sz="quarter" idx="4"/>
          </p:nvPr>
        </p:nvSpPr>
        <p:spPr>
          <a:xfrm>
            <a:off x="9441800"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120551659"/>
      </p:ext>
    </p:extLst>
  </p:cSld>
  <p:clrMap bg1="lt1" tx1="dk1" bg2="lt2" tx2="dk2" accent1="accent1" accent2="accent2" accent3="accent3" accent4="accent4" accent5="accent5" accent6="accent6" hlink="hlink" folHlink="folHlink"/>
  <p:sldLayoutIdLst>
    <p:sldLayoutId id="2147483932" r:id="rId1"/>
    <p:sldLayoutId id="2147483933" r:id="rId2"/>
  </p:sldLayoutIdLst>
  <p:hf hdr="0" ftr="0" dt="0"/>
  <p:txStyles>
    <p:titleStyle>
      <a:lvl1pPr algn="ctr" defTabSz="914400" rtl="0" eaLnBrk="1" latinLnBrk="0" hangingPunct="1">
        <a:lnSpc>
          <a:spcPct val="90000"/>
        </a:lnSpc>
        <a:spcBef>
          <a:spcPct val="0"/>
        </a:spcBef>
        <a:buNone/>
        <a:defRPr sz="4400" b="1" kern="1200">
          <a:solidFill>
            <a:schemeClr val="bg1"/>
          </a:solidFill>
          <a:latin typeface="Times" panose="02020603050405020304" pitchFamily="18" charset="0"/>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panose="02020603050405020304" pitchFamily="18" charset="0"/>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panose="02020603050405020304" pitchFamily="18" charset="0"/>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panose="02020603050405020304" pitchFamily="18" charset="0"/>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panose="02020603050405020304" pitchFamily="18" charset="0"/>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panose="02020603050405020304" pitchFamily="18" charset="0"/>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5" y="7691"/>
            <a:ext cx="4354435" cy="739445"/>
          </a:xfrm>
          <a:prstGeom prst="rect">
            <a:avLst/>
          </a:prstGeom>
          <a:solidFill>
            <a:schemeClr val="tx1">
              <a:lumMod val="50000"/>
              <a:lumOff val="5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Flowchart: Delay 10"/>
          <p:cNvSpPr/>
          <p:nvPr userDrawn="1"/>
        </p:nvSpPr>
        <p:spPr>
          <a:xfrm>
            <a:off x="7662189" y="7691"/>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1" y="7680"/>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3"/>
            <a:ext cx="7449131"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rotWithShape="1">
          <a:blip r:embed="rId10"/>
          <a:srcRect l="5102" t="12781" r="5629"/>
          <a:stretch/>
        </p:blipFill>
        <p:spPr>
          <a:xfrm>
            <a:off x="158799" y="106261"/>
            <a:ext cx="510275" cy="523953"/>
          </a:xfrm>
          <a:prstGeom prst="rect">
            <a:avLst/>
          </a:prstGeom>
        </p:spPr>
      </p:pic>
      <p:sp>
        <p:nvSpPr>
          <p:cNvPr id="2" name="Title Placeholder 1"/>
          <p:cNvSpPr>
            <a:spLocks noGrp="1"/>
          </p:cNvSpPr>
          <p:nvPr>
            <p:ph type="title"/>
          </p:nvPr>
        </p:nvSpPr>
        <p:spPr>
          <a:xfrm>
            <a:off x="838201" y="141769"/>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613046645"/>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19" r:id="rId5"/>
    <p:sldLayoutId id="2147483791" r:id="rId6"/>
    <p:sldLayoutId id="2147483920" r:id="rId7"/>
    <p:sldLayoutId id="2147483793" r:id="rId8"/>
  </p:sldLayoutIdLst>
  <p:hf hdr="0" ftr="0" dt="0"/>
  <p:txStyles>
    <p:titleStyle>
      <a:lvl1pPr algn="l" defTabSz="914377"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6" y="7689"/>
            <a:ext cx="4354434" cy="739445"/>
          </a:xfrm>
          <a:prstGeom prst="rect">
            <a:avLst/>
          </a:prstGeom>
          <a:solidFill>
            <a:srgbClr val="1FA6A6"/>
          </a:solidFill>
          <a:ln w="19050">
            <a:solidFill>
              <a:srgbClr val="1F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elay 10"/>
          <p:cNvSpPr/>
          <p:nvPr userDrawn="1"/>
        </p:nvSpPr>
        <p:spPr>
          <a:xfrm>
            <a:off x="7662188" y="7689"/>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0" y="7678"/>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1"/>
            <a:ext cx="7449130"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6"/>
          <a:srcRect l="5102" t="12781" r="5629"/>
          <a:stretch/>
        </p:blipFill>
        <p:spPr>
          <a:xfrm>
            <a:off x="158799" y="106259"/>
            <a:ext cx="510274" cy="523953"/>
          </a:xfrm>
          <a:prstGeom prst="rect">
            <a:avLst/>
          </a:prstGeom>
        </p:spPr>
      </p:pic>
      <p:sp>
        <p:nvSpPr>
          <p:cNvPr id="2" name="Title Placeholder 1"/>
          <p:cNvSpPr>
            <a:spLocks noGrp="1"/>
          </p:cNvSpPr>
          <p:nvPr>
            <p:ph type="title"/>
          </p:nvPr>
        </p:nvSpPr>
        <p:spPr>
          <a:xfrm>
            <a:off x="838200" y="141767"/>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
        <p:nvSpPr>
          <p:cNvPr id="12" name="Slide Number Placeholder 3"/>
          <p:cNvSpPr txBox="1">
            <a:spLocks/>
          </p:cNvSpPr>
          <p:nvPr userDrawn="1"/>
        </p:nvSpPr>
        <p:spPr>
          <a:xfrm>
            <a:off x="3575685" y="6540726"/>
            <a:ext cx="504063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34343"/>
                </a:solidFill>
                <a:latin typeface="+mj-lt"/>
                <a:ea typeface="+mn-ea"/>
                <a:cs typeface="Times" panose="0202060305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b="1">
              <a:solidFill>
                <a:srgbClr val="FF0000"/>
              </a:solidFill>
            </a:endParaRPr>
          </a:p>
        </p:txBody>
      </p:sp>
    </p:spTree>
    <p:extLst>
      <p:ext uri="{BB962C8B-B14F-4D97-AF65-F5344CB8AC3E}">
        <p14:creationId xmlns:p14="http://schemas.microsoft.com/office/powerpoint/2010/main" val="123684623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912" r:id="rId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124632578"/>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93"/>
                        <a:ext cx="2116"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1B66B07-6D23-43B1-B86F-8D74DB6E60EB}"/>
              </a:ext>
            </a:extLst>
          </p:cNvPr>
          <p:cNvPicPr>
            <a:picLocks noChangeAspect="1"/>
          </p:cNvPicPr>
          <p:nvPr userDrawn="1"/>
        </p:nvPicPr>
        <p:blipFill>
          <a:blip r:embed="rId49"/>
          <a:stretch>
            <a:fillRect/>
          </a:stretch>
        </p:blipFill>
        <p:spPr>
          <a:xfrm>
            <a:off x="11339245" y="6254286"/>
            <a:ext cx="493776" cy="497173"/>
          </a:xfrm>
          <a:prstGeom prst="rect">
            <a:avLst/>
          </a:prstGeom>
        </p:spPr>
      </p:pic>
      <p:sp>
        <p:nvSpPr>
          <p:cNvPr id="11" name="TextBox 10">
            <a:extLst>
              <a:ext uri="{FF2B5EF4-FFF2-40B4-BE49-F238E27FC236}">
                <a16:creationId xmlns:a16="http://schemas.microsoft.com/office/drawing/2014/main" id="{87310BF4-33D5-490A-BA14-1A9E52E201B7}"/>
              </a:ext>
            </a:extLst>
          </p:cNvPr>
          <p:cNvSpPr txBox="1"/>
          <p:nvPr userDrawn="1"/>
        </p:nvSpPr>
        <p:spPr>
          <a:xfrm>
            <a:off x="7089915" y="6364134"/>
            <a:ext cx="4172431" cy="153888"/>
          </a:xfrm>
          <a:prstGeom prst="rect">
            <a:avLst/>
          </a:prstGeom>
          <a:noFill/>
        </p:spPr>
        <p:txBody>
          <a:bodyPr wrap="square" lIns="0" tIns="0" rIns="0" bIns="0" rtlCol="0">
            <a:spAutoFit/>
          </a:bodyPr>
          <a:lstStyle/>
          <a:p>
            <a:pPr algn="r">
              <a:spcBef>
                <a:spcPts val="600"/>
              </a:spcBef>
              <a:buSzPct val="100000"/>
            </a:pPr>
            <a:r>
              <a:rPr lang="en-US" sz="1000" spc="300" dirty="0">
                <a:latin typeface="Segoe UI Light" panose="020B0502040204020203" pitchFamily="34" charset="0"/>
                <a:cs typeface="Segoe UI Light" panose="020B0502040204020203" pitchFamily="34" charset="0"/>
              </a:rPr>
              <a:t>U.S. DEPARTMENT OF TRANSPORTATION</a:t>
            </a:r>
          </a:p>
        </p:txBody>
      </p:sp>
      <p:pic>
        <p:nvPicPr>
          <p:cNvPr id="6" name="Picture 5">
            <a:extLst>
              <a:ext uri="{FF2B5EF4-FFF2-40B4-BE49-F238E27FC236}">
                <a16:creationId xmlns:a16="http://schemas.microsoft.com/office/drawing/2014/main" id="{DE6094A1-6C7F-4097-8164-0DEB15867849}"/>
              </a:ext>
            </a:extLst>
          </p:cNvPr>
          <p:cNvPicPr>
            <a:picLocks noChangeAspect="1"/>
          </p:cNvPicPr>
          <p:nvPr userDrawn="1"/>
        </p:nvPicPr>
        <p:blipFill>
          <a:blip r:embed="rId50"/>
          <a:stretch>
            <a:fillRect/>
          </a:stretch>
        </p:blipFill>
        <p:spPr>
          <a:xfrm>
            <a:off x="219674" y="6256942"/>
            <a:ext cx="493776" cy="494514"/>
          </a:xfrm>
          <a:prstGeom prst="rect">
            <a:avLst/>
          </a:prstGeom>
        </p:spPr>
      </p:pic>
      <p:sp>
        <p:nvSpPr>
          <p:cNvPr id="7" name="TextBox 6">
            <a:extLst>
              <a:ext uri="{FF2B5EF4-FFF2-40B4-BE49-F238E27FC236}">
                <a16:creationId xmlns:a16="http://schemas.microsoft.com/office/drawing/2014/main" id="{9A5A288F-B887-4C14-996C-FAFC3256A5D3}"/>
              </a:ext>
            </a:extLst>
          </p:cNvPr>
          <p:cNvSpPr txBox="1"/>
          <p:nvPr userDrawn="1"/>
        </p:nvSpPr>
        <p:spPr>
          <a:xfrm>
            <a:off x="1008074" y="6317969"/>
            <a:ext cx="4172431" cy="353943"/>
          </a:xfrm>
          <a:prstGeom prst="rect">
            <a:avLst/>
          </a:prstGeom>
          <a:noFill/>
        </p:spPr>
        <p:txBody>
          <a:bodyPr wrap="square" lIns="0" tIns="0" rIns="0" bIns="0" rtlCol="0">
            <a:spAutoFit/>
          </a:bodyPr>
          <a:lstStyle/>
          <a:p>
            <a:pPr>
              <a:buSzPct val="100000"/>
            </a:pPr>
            <a:r>
              <a:rPr lang="en-US" sz="1000" spc="300" dirty="0">
                <a:latin typeface="Segoe UI Light" panose="020B0502040204020203" pitchFamily="34" charset="0"/>
                <a:cs typeface="Segoe UI Light" panose="020B0502040204020203" pitchFamily="34" charset="0"/>
              </a:rPr>
              <a:t>R.O.U.T.E.S.</a:t>
            </a:r>
          </a:p>
          <a:p>
            <a:pPr>
              <a:buSzPct val="100000"/>
            </a:pPr>
            <a:r>
              <a:rPr lang="en-US" sz="650" spc="300" dirty="0">
                <a:latin typeface="Segoe UI Light" panose="020B0502040204020203" pitchFamily="34" charset="0"/>
                <a:cs typeface="Segoe UI Light" panose="020B0502040204020203" pitchFamily="34" charset="0"/>
              </a:rPr>
              <a:t>RURAL OPPORTUNITIES TO USE TRANSPORTATION FOR ECONOMIC SUCCESS</a:t>
            </a:r>
          </a:p>
        </p:txBody>
      </p:sp>
      <p:sp>
        <p:nvSpPr>
          <p:cNvPr id="8" name="TextBox 7">
            <a:extLst>
              <a:ext uri="{FF2B5EF4-FFF2-40B4-BE49-F238E27FC236}">
                <a16:creationId xmlns:a16="http://schemas.microsoft.com/office/drawing/2014/main" id="{69C3B79F-3615-4397-AE80-D8E6AC06508C}"/>
              </a:ext>
            </a:extLst>
          </p:cNvPr>
          <p:cNvSpPr txBox="1"/>
          <p:nvPr userDrawn="1"/>
        </p:nvSpPr>
        <p:spPr>
          <a:xfrm>
            <a:off x="5942015" y="6364132"/>
            <a:ext cx="307975" cy="153888"/>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1000" noProof="0" smtClean="0">
                <a:solidFill>
                  <a:schemeClr val="tx1"/>
                </a:solidFill>
                <a:latin typeface="Segoe UI Light" panose="020B0502040204020203" pitchFamily="34" charset="0"/>
                <a:cs typeface="Segoe UI Light" panose="020B0502040204020203" pitchFamily="34" charset="0"/>
              </a:rPr>
              <a:pPr marL="0" indent="0" algn="ctr">
                <a:spcBef>
                  <a:spcPts val="600"/>
                </a:spcBef>
                <a:buSzPct val="100000"/>
                <a:buFont typeface="Arial"/>
                <a:buNone/>
              </a:pPr>
              <a:t>‹#›</a:t>
            </a:fld>
            <a:endParaRPr lang="en-US" sz="1000" noProof="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222633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953" r:id="rId21"/>
    <p:sldLayoutId id="2147483954"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55" r:id="rId31"/>
    <p:sldLayoutId id="2147483964" r:id="rId32"/>
    <p:sldLayoutId id="2147483965" r:id="rId33"/>
    <p:sldLayoutId id="2147483966" r:id="rId34"/>
    <p:sldLayoutId id="2147483967" r:id="rId35"/>
    <p:sldLayoutId id="2147483696" r:id="rId36"/>
    <p:sldLayoutId id="2147483697" r:id="rId37"/>
    <p:sldLayoutId id="2147483698" r:id="rId38"/>
    <p:sldLayoutId id="2147483699" r:id="rId39"/>
    <p:sldLayoutId id="2147483700" r:id="rId40"/>
    <p:sldLayoutId id="2147483701" r:id="rId41"/>
    <p:sldLayoutId id="2147483845" r:id="rId42"/>
    <p:sldLayoutId id="2147483703" r:id="rId43"/>
    <p:sldLayoutId id="2147483704" r:id="rId44"/>
  </p:sldLayoutIdLst>
  <p:transition>
    <p:fade/>
  </p:transition>
  <p:hf hdr="0" ftr="0" dt="0"/>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9"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7" userDrawn="1">
          <p15:clr>
            <a:srgbClr val="F26B43"/>
          </p15:clr>
        </p15:guide>
        <p15:guide id="12" pos="1383"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C22B3756-6A50-9510-9C26-61CED5866F6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95451" y="6079408"/>
            <a:ext cx="10652851" cy="655297"/>
          </a:xfrm>
          <a:prstGeom prst="rect">
            <a:avLst/>
          </a:prstGeom>
        </p:spPr>
      </p:pic>
      <p:sp>
        <p:nvSpPr>
          <p:cNvPr id="2" name="Title Placeholder 1"/>
          <p:cNvSpPr>
            <a:spLocks noGrp="1"/>
          </p:cNvSpPr>
          <p:nvPr>
            <p:ph type="title"/>
          </p:nvPr>
        </p:nvSpPr>
        <p:spPr>
          <a:xfrm>
            <a:off x="543697" y="365126"/>
            <a:ext cx="11096368" cy="957048"/>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43697" y="1426703"/>
            <a:ext cx="11096368" cy="47502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50D9E106-38D4-AC43-B9AB-A15A4966BC50}"/>
              </a:ext>
            </a:extLst>
          </p:cNvPr>
          <p:cNvSpPr txBox="1">
            <a:spLocks/>
          </p:cNvSpPr>
          <p:nvPr userDrawn="1"/>
        </p:nvSpPr>
        <p:spPr>
          <a:xfrm>
            <a:off x="10572205" y="6211462"/>
            <a:ext cx="560027" cy="523243"/>
          </a:xfrm>
          <a:prstGeom prst="rect">
            <a:avLst/>
          </a:prstGeom>
          <a:noFill/>
        </p:spPr>
        <p:txBody>
          <a:bodyPr vert="horz" lIns="91440" tIns="45720" rIns="91440" bIns="45720" rtlCol="0" anchor="ctr"/>
          <a:lstStyle>
            <a:defPPr>
              <a:defRPr lang="en-US"/>
            </a:defPPr>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AB849620-3000-5F40-9D2D-E3E07BC88046}" type="slidenum">
              <a:rPr lang="en-US" smtClean="0">
                <a:solidFill>
                  <a:schemeClr val="accent1"/>
                </a:solidFill>
              </a:rPr>
              <a:pPr algn="ctr"/>
              <a:t>‹#›</a:t>
            </a:fld>
            <a:endParaRPr lang="en-US">
              <a:solidFill>
                <a:schemeClr val="accent1"/>
              </a:solidFill>
            </a:endParaRPr>
          </a:p>
        </p:txBody>
      </p:sp>
      <p:pic>
        <p:nvPicPr>
          <p:cNvPr id="16" name="Graphic 15">
            <a:extLst>
              <a:ext uri="{FF2B5EF4-FFF2-40B4-BE49-F238E27FC236}">
                <a16:creationId xmlns:a16="http://schemas.microsoft.com/office/drawing/2014/main" id="{C68DCFCD-C70B-8B8F-C62D-46404BFCB46E}"/>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500152" y="6183494"/>
            <a:ext cx="495300" cy="504825"/>
          </a:xfrm>
          <a:prstGeom prst="rect">
            <a:avLst/>
          </a:prstGeom>
        </p:spPr>
      </p:pic>
    </p:spTree>
    <p:custDataLst>
      <p:tags r:id="rId17"/>
    </p:custDataLst>
    <p:extLst>
      <p:ext uri="{BB962C8B-B14F-4D97-AF65-F5344CB8AC3E}">
        <p14:creationId xmlns:p14="http://schemas.microsoft.com/office/powerpoint/2010/main" val="275518042"/>
      </p:ext>
    </p:extLst>
  </p:cSld>
  <p:clrMap bg1="lt1" tx1="dk1" bg2="lt2" tx2="dk2" accent1="accent1" accent2="accent2" accent3="accent3" accent4="accent4" accent5="accent5" accent6="accent6" hlink="hlink" folHlink="folHlink"/>
  <p:sldLayoutIdLst>
    <p:sldLayoutId id="2147483682" r:id="rId1"/>
    <p:sldLayoutId id="2147483691"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55" r:id="rId11"/>
    <p:sldLayoutId id="2147483692" r:id="rId12"/>
    <p:sldLayoutId id="2147483693" r:id="rId13"/>
    <p:sldLayoutId id="2147483694" r:id="rId14"/>
    <p:sldLayoutId id="2147483695" r:id="rId15"/>
  </p:sldLayoutIdLst>
  <p:hf hdr="0" ftr="0" dt="0"/>
  <p:txStyles>
    <p:titleStyle>
      <a:lvl1pPr algn="l" defTabSz="914400" rtl="0" eaLnBrk="1" latinLnBrk="0" hangingPunct="1">
        <a:lnSpc>
          <a:spcPct val="90000"/>
        </a:lnSpc>
        <a:spcBef>
          <a:spcPct val="0"/>
        </a:spcBef>
        <a:buNone/>
        <a:defRPr sz="4200" b="0" i="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8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itchFamily="2" charset="2"/>
        <a:buChar char="§"/>
        <a:defRPr sz="2400" b="0" i="0" kern="1200">
          <a:solidFill>
            <a:schemeClr val="tx1"/>
          </a:solidFill>
          <a:latin typeface="+mn-lt"/>
          <a:ea typeface="+mn-ea"/>
          <a:cs typeface="+mn-cs"/>
        </a:defRPr>
      </a:lvl2pPr>
      <a:lvl3pPr marL="1257300" indent="-342900" algn="l" defTabSz="914400" rtl="0" eaLnBrk="1" latinLnBrk="0" hangingPunct="1">
        <a:lnSpc>
          <a:spcPct val="100000"/>
        </a:lnSpc>
        <a:spcBef>
          <a:spcPts val="500"/>
        </a:spcBef>
        <a:buClr>
          <a:schemeClr val="accent3"/>
        </a:buClr>
        <a:buSzPct val="76000"/>
        <a:buFont typeface="Arial" panose="020B0604020202020204" pitchFamily="34" charset="0"/>
        <a:buChar char="•"/>
        <a:defRPr sz="20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tx1">
            <a:lumMod val="65000"/>
            <a:lumOff val="35000"/>
          </a:schemeClr>
        </a:buClr>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tx1">
            <a:lumMod val="65000"/>
            <a:lumOff val="35000"/>
          </a:schemeClr>
        </a:buClr>
        <a:buSzPct val="74000"/>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42640016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br>
              <a:rPr lang="en-US" sz="900" noProof="0" dirty="0">
                <a:solidFill>
                  <a:schemeClr val="tx1"/>
                </a:solidFill>
                <a:latin typeface="Calibri" panose="020F0502020204030204" pitchFamily="34" charset="0"/>
                <a:cs typeface="Calibri" panose="020F0502020204030204" pitchFamily="34" charset="0"/>
              </a:rPr>
            </a:br>
            <a:endParaRPr lang="en-US" sz="900" noProof="0" dirty="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52110085"/>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 id="2147484119" r:id="rId23"/>
    <p:sldLayoutId id="2147484120" r:id="rId24"/>
    <p:sldLayoutId id="2147484121" r:id="rId25"/>
    <p:sldLayoutId id="2147484122" r:id="rId26"/>
    <p:sldLayoutId id="2147484123" r:id="rId27"/>
    <p:sldLayoutId id="2147484124" r:id="rId28"/>
    <p:sldLayoutId id="2147484125" r:id="rId29"/>
    <p:sldLayoutId id="2147484126" r:id="rId30"/>
    <p:sldLayoutId id="2147484127" r:id="rId31"/>
    <p:sldLayoutId id="2147484128" r:id="rId32"/>
    <p:sldLayoutId id="2147484129" r:id="rId33"/>
    <p:sldLayoutId id="2147484130" r:id="rId34"/>
    <p:sldLayoutId id="2147484131" r:id="rId35"/>
    <p:sldLayoutId id="2147484132" r:id="rId36"/>
    <p:sldLayoutId id="2147484133" r:id="rId37"/>
    <p:sldLayoutId id="2147484134" r:id="rId38"/>
    <p:sldLayoutId id="2147484135" r:id="rId39"/>
    <p:sldLayoutId id="2147484136" r:id="rId40"/>
    <p:sldLayoutId id="2147484137" r:id="rId41"/>
    <p:sldLayoutId id="2147484138" r:id="rId42"/>
    <p:sldLayoutId id="2147484139" r:id="rId43"/>
    <p:sldLayoutId id="2147484140" r:id="rId44"/>
    <p:sldLayoutId id="2147484141" r:id="rId45"/>
    <p:sldLayoutId id="2147484142" r:id="rId46"/>
    <p:sldLayoutId id="2147484143" r:id="rId47"/>
    <p:sldLayoutId id="2147484144" r:id="rId4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p15:clr>
            <a:srgbClr val="F26B43"/>
          </p15:clr>
        </p15:guide>
        <p15:guide id="65" orient="horz" pos="2160">
          <p15:clr>
            <a:srgbClr val="F26B43"/>
          </p15:clr>
        </p15:guide>
        <p15:guide id="66" orient="horz" pos="3968">
          <p15:clr>
            <a:srgbClr val="F26B43"/>
          </p15:clr>
        </p15:guide>
        <p15:guide id="67" pos="312">
          <p15:clr>
            <a:srgbClr val="F26B43"/>
          </p15:clr>
        </p15:guide>
        <p15:guide id="68" pos="7368">
          <p15:clr>
            <a:srgbClr val="F26B43"/>
          </p15:clr>
        </p15:guide>
        <p15:guide id="69" orient="horz" pos="245">
          <p15:clr>
            <a:srgbClr val="F26B43"/>
          </p15:clr>
        </p15:guide>
        <p15:guide id="70" orient="horz" pos="4081">
          <p15:clr>
            <a:srgbClr val="F26B43"/>
          </p15:clr>
        </p15:guide>
        <p15:guide id="71" pos="4986">
          <p15:clr>
            <a:srgbClr val="F26B43"/>
          </p15:clr>
        </p15:guide>
        <p15:guide id="72" pos="1382">
          <p15:clr>
            <a:srgbClr val="F26B43"/>
          </p15:clr>
        </p15:guide>
        <p15:guide id="73" pos="1496">
          <p15:clr>
            <a:srgbClr val="F26B43"/>
          </p15:clr>
        </p15:guide>
        <p15:guide id="74" pos="2581">
          <p15:clr>
            <a:srgbClr val="F26B43"/>
          </p15:clr>
        </p15:guide>
        <p15:guide id="75" pos="2695">
          <p15:clr>
            <a:srgbClr val="F26B43"/>
          </p15:clr>
        </p15:guide>
        <p15:guide id="76" pos="6185">
          <p15:clr>
            <a:srgbClr val="F26B43"/>
          </p15:clr>
        </p15:guide>
        <p15:guide id="77" pos="3783">
          <p15:clr>
            <a:srgbClr val="F26B43"/>
          </p15:clr>
        </p15:guide>
        <p15:guide id="78" pos="3896">
          <p15:clr>
            <a:srgbClr val="F26B43"/>
          </p15:clr>
        </p15:guide>
        <p15:guide id="79" pos="3840">
          <p15:clr>
            <a:srgbClr val="F26B43"/>
          </p15:clr>
        </p15:guide>
        <p15:guide id="80" pos="6299">
          <p15:clr>
            <a:srgbClr val="F26B43"/>
          </p15:clr>
        </p15:guide>
        <p15:guide id="81" orient="horz" pos="1049">
          <p15:clr>
            <a:srgbClr val="F26B43"/>
          </p15:clr>
        </p15:guide>
        <p15:guide id="82" orient="horz" pos="641">
          <p15:clr>
            <a:srgbClr val="F26B43"/>
          </p15:clr>
        </p15:guide>
        <p15:guide id="8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hyperlink" Target="http://www.transportation.gov/rural" TargetMode="External"/><Relationship Id="rId5" Type="http://schemas.openxmlformats.org/officeDocument/2006/relationships/hyperlink" Target="mailto:Rural@dot.gov" TargetMode="External"/><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hyperlink" Target="https://www.rural.gov/"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energycommunities.gov/"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hyperlink" Target="https://www.whitehouse.gov/wp-content/uploads/2022/01/BUILDING-A-BETTER-AMERICA_FINAL.pdf"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hyperlink" Target="https://www.transportation.gov/briefing-room/building-better-america-fact-sheet-rural-communities" TargetMode="External"/><Relationship Id="rId5" Type="http://schemas.openxmlformats.org/officeDocument/2006/relationships/hyperlink" Target="https://www.transportation.gov/bipartisan-infrastructure-law" TargetMode="External"/><Relationship Id="rId4" Type="http://schemas.openxmlformats.org/officeDocument/2006/relationships/hyperlink" Target="https://www.whitehouse.gov/wp-content/uploads/2022/04/BIL-Rural-Playbook-.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transportation.gov/grants/mega-grant-program" TargetMode="External"/><Relationship Id="rId2" Type="http://schemas.openxmlformats.org/officeDocument/2006/relationships/hyperlink" Target="https://www.transportation.gov/grants/infra-grant-program" TargetMode="External"/><Relationship Id="rId1" Type="http://schemas.openxmlformats.org/officeDocument/2006/relationships/slideLayout" Target="../slideLayouts/slideLayout1.xml"/><Relationship Id="rId4" Type="http://schemas.openxmlformats.org/officeDocument/2006/relationships/hyperlink" Target="https://www.transportation.gov/grants/rural-surface-transportation-grant-progra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1.xml.rels><?xml version="1.0" encoding="UTF-8" standalone="yes"?>
<Relationships xmlns="http://schemas.openxmlformats.org/package/2006/relationships"><Relationship Id="rId3" Type="http://schemas.openxmlformats.org/officeDocument/2006/relationships/hyperlink" Target="mailto:Rural@dot.gov"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hyperlink" Target="http://www.transportation.gov/rura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2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2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a:extLst>
              <a:ext uri="{FF2B5EF4-FFF2-40B4-BE49-F238E27FC236}">
                <a16:creationId xmlns:a16="http://schemas.microsoft.com/office/drawing/2014/main" id="{1ADE0761-DA1E-F93A-80B2-E7F528E5BDF1}"/>
              </a:ext>
            </a:extLst>
          </p:cNvPr>
          <p:cNvPicPr>
            <a:picLocks noChangeAspect="1"/>
          </p:cNvPicPr>
          <p:nvPr/>
        </p:nvPicPr>
        <p:blipFill>
          <a:blip r:embed="rId3"/>
          <a:stretch>
            <a:fillRect/>
          </a:stretch>
        </p:blipFill>
        <p:spPr>
          <a:xfrm>
            <a:off x="1772" y="-876"/>
            <a:ext cx="12215035" cy="4290214"/>
          </a:xfrm>
          <a:prstGeom prst="rect">
            <a:avLst/>
          </a:prstGeom>
        </p:spPr>
      </p:pic>
      <p:grpSp>
        <p:nvGrpSpPr>
          <p:cNvPr id="6" name="Group 5">
            <a:extLst>
              <a:ext uri="{FF2B5EF4-FFF2-40B4-BE49-F238E27FC236}">
                <a16:creationId xmlns:a16="http://schemas.microsoft.com/office/drawing/2014/main" id="{462BB6F1-538A-CFDE-6DF5-F61CEA683C29}"/>
              </a:ext>
            </a:extLst>
          </p:cNvPr>
          <p:cNvGrpSpPr/>
          <p:nvPr/>
        </p:nvGrpSpPr>
        <p:grpSpPr>
          <a:xfrm>
            <a:off x="1066393" y="3371908"/>
            <a:ext cx="1123123" cy="1123123"/>
            <a:chOff x="1914984" y="3337272"/>
            <a:chExt cx="1828800" cy="1828800"/>
          </a:xfrm>
        </p:grpSpPr>
        <p:sp>
          <p:nvSpPr>
            <p:cNvPr id="7" name="Oval 6">
              <a:extLst>
                <a:ext uri="{FF2B5EF4-FFF2-40B4-BE49-F238E27FC236}">
                  <a16:creationId xmlns:a16="http://schemas.microsoft.com/office/drawing/2014/main" id="{99A895C7-5DE4-F23B-0B6A-7E3977967A72}"/>
                </a:ext>
              </a:extLst>
            </p:cNvPr>
            <p:cNvSpPr/>
            <p:nvPr/>
          </p:nvSpPr>
          <p:spPr bwMode="gray">
            <a:xfrm>
              <a:off x="1914984" y="3337272"/>
              <a:ext cx="1828800" cy="1828800"/>
            </a:xfrm>
            <a:prstGeom prst="ellipse">
              <a:avLst/>
            </a:prstGeom>
            <a:noFill/>
            <a:ln w="38100" algn="ctr">
              <a:solidFill>
                <a:srgbClr val="2E76BB"/>
              </a:solidFill>
              <a:prstDash val="sysDot"/>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8604048A-1409-3333-FE25-14D7F4068059}"/>
                </a:ext>
              </a:extLst>
            </p:cNvPr>
            <p:cNvGrpSpPr/>
            <p:nvPr/>
          </p:nvGrpSpPr>
          <p:grpSpPr>
            <a:xfrm>
              <a:off x="1991086" y="3418582"/>
              <a:ext cx="1687589" cy="1676596"/>
              <a:chOff x="1991086" y="3418582"/>
              <a:chExt cx="1687589" cy="1676596"/>
            </a:xfrm>
          </p:grpSpPr>
          <p:sp>
            <p:nvSpPr>
              <p:cNvPr id="9" name="Flowchart: Connector 8">
                <a:extLst>
                  <a:ext uri="{FF2B5EF4-FFF2-40B4-BE49-F238E27FC236}">
                    <a16:creationId xmlns:a16="http://schemas.microsoft.com/office/drawing/2014/main" id="{AEA44F0A-2E49-F7FB-8852-46C244EEB144}"/>
                  </a:ext>
                </a:extLst>
              </p:cNvPr>
              <p:cNvSpPr/>
              <p:nvPr/>
            </p:nvSpPr>
            <p:spPr>
              <a:xfrm>
                <a:off x="1991086" y="3418582"/>
                <a:ext cx="1676596" cy="1676596"/>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a:ln>
                    <a:noFill/>
                  </a:ln>
                  <a:solidFill>
                    <a:srgbClr val="ACCBF9">
                      <a:lumMod val="50000"/>
                    </a:srgbClr>
                  </a:solidFill>
                  <a:effectLst/>
                  <a:highlight>
                    <a:srgbClr val="FFFF00"/>
                  </a:highligh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406323B1-EA83-136B-BA38-E2FC23972A40}"/>
                  </a:ext>
                </a:extLst>
              </p:cNvPr>
              <p:cNvPicPr>
                <a:picLocks noChangeAspect="1"/>
              </p:cNvPicPr>
              <p:nvPr/>
            </p:nvPicPr>
            <p:blipFill>
              <a:blip r:embed="rId4"/>
              <a:stretch>
                <a:fillRect/>
              </a:stretch>
            </p:blipFill>
            <p:spPr>
              <a:xfrm>
                <a:off x="2005323" y="3663001"/>
                <a:ext cx="1673352" cy="1347469"/>
              </a:xfrm>
              <a:prstGeom prst="ellipse">
                <a:avLst/>
              </a:prstGeom>
            </p:spPr>
          </p:pic>
        </p:grpSp>
      </p:grpSp>
      <p:sp>
        <p:nvSpPr>
          <p:cNvPr id="13" name="Title 1">
            <a:extLst>
              <a:ext uri="{FF2B5EF4-FFF2-40B4-BE49-F238E27FC236}">
                <a16:creationId xmlns:a16="http://schemas.microsoft.com/office/drawing/2014/main" id="{BC965C03-EDC4-3450-EDF2-A3848B8B26E8}"/>
              </a:ext>
            </a:extLst>
          </p:cNvPr>
          <p:cNvSpPr txBox="1">
            <a:spLocks/>
          </p:cNvSpPr>
          <p:nvPr/>
        </p:nvSpPr>
        <p:spPr>
          <a:xfrm>
            <a:off x="1066390" y="4874027"/>
            <a:ext cx="4365954" cy="725358"/>
          </a:xfrm>
          <a:prstGeom prst="rect">
            <a:avLst/>
          </a:prstGeom>
        </p:spPr>
        <p:txBody>
          <a:bodyPr vert="horz" lIns="0" tIns="45720" rIns="0" bIns="0" rtlCol="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Pct val="100000"/>
              <a:buFontTx/>
              <a:buNone/>
              <a:tabLst/>
              <a:defRPr/>
            </a:pPr>
            <a:r>
              <a:rPr kumimoji="0" lang="en-US" sz="1600" b="1" i="0" u="none" strike="noStrike" kern="1200" cap="none" spc="30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RURAL OPPORTUNITIES TO </a:t>
            </a:r>
          </a:p>
          <a:p>
            <a:pPr marL="0" marR="0" lvl="0" indent="0" algn="l" defTabSz="914400" rtl="0" eaLnBrk="1" fontAlgn="auto" latinLnBrk="0" hangingPunct="1">
              <a:lnSpc>
                <a:spcPct val="80000"/>
              </a:lnSpc>
              <a:spcBef>
                <a:spcPts val="0"/>
              </a:spcBef>
              <a:spcAft>
                <a:spcPts val="0"/>
              </a:spcAft>
              <a:buClrTx/>
              <a:buSzPct val="100000"/>
              <a:buFontTx/>
              <a:buNone/>
              <a:tabLst/>
              <a:defRPr/>
            </a:pPr>
            <a:r>
              <a:rPr kumimoji="0" lang="en-US" sz="1600" b="1" i="0" u="none" strike="noStrike" kern="1200" cap="none" spc="30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USE TRANSPORTATION FOR ECONOMIC SUCCESS</a:t>
            </a:r>
          </a:p>
        </p:txBody>
      </p:sp>
      <p:sp>
        <p:nvSpPr>
          <p:cNvPr id="14" name="Title 1">
            <a:extLst>
              <a:ext uri="{FF2B5EF4-FFF2-40B4-BE49-F238E27FC236}">
                <a16:creationId xmlns:a16="http://schemas.microsoft.com/office/drawing/2014/main" id="{C42B6F63-D984-3750-2660-9052B868B3E9}"/>
              </a:ext>
            </a:extLst>
          </p:cNvPr>
          <p:cNvSpPr txBox="1">
            <a:spLocks/>
          </p:cNvSpPr>
          <p:nvPr/>
        </p:nvSpPr>
        <p:spPr>
          <a:xfrm>
            <a:off x="1066393" y="5720696"/>
            <a:ext cx="6257647" cy="886476"/>
          </a:xfrm>
          <a:prstGeom prst="rect">
            <a:avLst/>
          </a:prstGeom>
        </p:spPr>
        <p:txBody>
          <a:bodyPr vert="horz" lIns="0" tIns="45720" rIns="0" bIns="0" rtlCol="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600"/>
              </a:spcBef>
              <a:spcAft>
                <a:spcPts val="0"/>
              </a:spcAft>
              <a:buClrTx/>
              <a:buSzPct val="100000"/>
              <a:buFontTx/>
              <a:buNone/>
              <a:tabLst/>
              <a:defRPr/>
            </a:pPr>
            <a:r>
              <a:rPr kumimoji="0" lang="en-US" sz="4800" b="1" i="0" u="none" strike="noStrike" kern="1200" cap="none" spc="750" normalizeH="0" baseline="0" noProof="0">
                <a:ln>
                  <a:noFill/>
                </a:ln>
                <a:solidFill>
                  <a:srgbClr val="002060"/>
                </a:solidFill>
                <a:effectLst/>
                <a:uLnTx/>
                <a:uFillTx/>
                <a:latin typeface="Segoe UI" panose="020B0502040204020203" pitchFamily="34" charset="0"/>
                <a:cs typeface="Segoe UI" panose="020B0502040204020203" pitchFamily="34" charset="0"/>
              </a:rPr>
              <a:t>ROUTES</a:t>
            </a:r>
          </a:p>
        </p:txBody>
      </p:sp>
      <p:sp>
        <p:nvSpPr>
          <p:cNvPr id="11" name="Subtitle 2">
            <a:extLst>
              <a:ext uri="{FF2B5EF4-FFF2-40B4-BE49-F238E27FC236}">
                <a16:creationId xmlns:a16="http://schemas.microsoft.com/office/drawing/2014/main" id="{4C6E4316-C6DE-D003-5AA1-A2140AE78A71}"/>
              </a:ext>
            </a:extLst>
          </p:cNvPr>
          <p:cNvSpPr>
            <a:spLocks noGrp="1"/>
          </p:cNvSpPr>
          <p:nvPr/>
        </p:nvSpPr>
        <p:spPr>
          <a:xfrm>
            <a:off x="7844066" y="4913102"/>
            <a:ext cx="4223387" cy="1767572"/>
          </a:xfrm>
          <a:prstGeom prst="rect">
            <a:avLst/>
          </a:prstGeom>
          <a:noFill/>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124559"/>
                </a:solidFill>
                <a:latin typeface="Times" panose="02020603050405020304" pitchFamily="18" charset="0"/>
                <a:ea typeface="+mn-ea"/>
                <a:cs typeface="Times" panose="02020603050405020304" pitchFamily="18"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Times" panose="02020603050405020304" pitchFamily="18"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Times" panose="02020603050405020304" pitchFamily="18"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j-lt"/>
                <a:ea typeface="+mn-ea"/>
                <a:cs typeface="Times" panose="02020603050405020304" pitchFamily="18"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j-lt"/>
                <a:ea typeface="+mn-ea"/>
                <a:cs typeface="Times" panose="02020603050405020304" pitchFamily="18"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0"/>
              </a:spcBef>
            </a:pPr>
            <a:r>
              <a:rPr lang="en-US" sz="1900" i="1" dirty="0">
                <a:solidFill>
                  <a:schemeClr val="tx1"/>
                </a:solidFill>
                <a:latin typeface="+mn-lt"/>
                <a:cs typeface="Times"/>
              </a:rPr>
              <a:t>Rob Hyman – US DOT</a:t>
            </a:r>
          </a:p>
          <a:p>
            <a:pPr>
              <a:spcBef>
                <a:spcPts val="0"/>
              </a:spcBef>
            </a:pPr>
            <a:r>
              <a:rPr lang="en-US" sz="1900" b="0" i="1" dirty="0">
                <a:solidFill>
                  <a:schemeClr val="tx1"/>
                </a:solidFill>
                <a:latin typeface="+mn-lt"/>
                <a:cs typeface="Times"/>
              </a:rPr>
              <a:t>March 11, 2024</a:t>
            </a:r>
          </a:p>
          <a:p>
            <a:pPr algn="ctr">
              <a:spcBef>
                <a:spcPts val="0"/>
              </a:spcBef>
            </a:pPr>
            <a:endParaRPr lang="en-US" sz="1800" i="1" dirty="0">
              <a:solidFill>
                <a:schemeClr val="tx1"/>
              </a:solidFill>
              <a:latin typeface="+mn-lt"/>
              <a:cs typeface="Times"/>
            </a:endParaRPr>
          </a:p>
          <a:p>
            <a:pPr algn="ctr">
              <a:spcBef>
                <a:spcPts val="0"/>
              </a:spcBef>
            </a:pPr>
            <a:r>
              <a:rPr lang="en-US" sz="1800" i="1" dirty="0">
                <a:solidFill>
                  <a:schemeClr val="tx1"/>
                </a:solidFill>
                <a:latin typeface="+mn-lt"/>
                <a:cs typeface="Times"/>
              </a:rPr>
              <a:t>Contact Us!</a:t>
            </a:r>
            <a:endParaRPr lang="en-US" dirty="0">
              <a:solidFill>
                <a:schemeClr val="tx1"/>
              </a:solidFill>
            </a:endParaRPr>
          </a:p>
          <a:p>
            <a:pPr algn="ctr">
              <a:spcBef>
                <a:spcPts val="0"/>
              </a:spcBef>
            </a:pPr>
            <a:r>
              <a:rPr lang="en-US" sz="1800" i="1" dirty="0">
                <a:solidFill>
                  <a:schemeClr val="tx1"/>
                </a:solidFill>
                <a:latin typeface="+mn-lt"/>
                <a:cs typeface="Times"/>
                <a:hlinkClick r:id="rId5">
                  <a:extLst>
                    <a:ext uri="{A12FA001-AC4F-418D-AE19-62706E023703}">
                      <ahyp:hlinkClr xmlns:ahyp="http://schemas.microsoft.com/office/drawing/2018/hyperlinkcolor" val="tx"/>
                    </a:ext>
                  </a:extLst>
                </a:hlinkClick>
              </a:rPr>
              <a:t>Rural@dot.gov</a:t>
            </a:r>
            <a:r>
              <a:rPr lang="en-US" sz="1800" i="1" dirty="0">
                <a:solidFill>
                  <a:schemeClr val="tx1"/>
                </a:solidFill>
                <a:latin typeface="+mn-lt"/>
                <a:cs typeface="Times"/>
              </a:rPr>
              <a:t> </a:t>
            </a:r>
          </a:p>
          <a:p>
            <a:pPr algn="ctr">
              <a:spcBef>
                <a:spcPts val="0"/>
              </a:spcBef>
            </a:pPr>
            <a:r>
              <a:rPr lang="en-US" sz="1800" i="1" dirty="0">
                <a:solidFill>
                  <a:schemeClr val="tx1"/>
                </a:solidFill>
                <a:latin typeface="+mn-lt"/>
                <a:cs typeface="Times"/>
                <a:hlinkClick r:id="rId6">
                  <a:extLst>
                    <a:ext uri="{A12FA001-AC4F-418D-AE19-62706E023703}">
                      <ahyp:hlinkClr xmlns:ahyp="http://schemas.microsoft.com/office/drawing/2018/hyperlinkcolor" val="tx"/>
                    </a:ext>
                  </a:extLst>
                </a:hlinkClick>
              </a:rPr>
              <a:t>www.transportation.gov/rural</a:t>
            </a:r>
            <a:endParaRPr lang="en-US" sz="1800" i="1" dirty="0">
              <a:solidFill>
                <a:schemeClr val="tx1"/>
              </a:solidFill>
              <a:latin typeface="+mn-lt"/>
              <a:cs typeface="Times"/>
            </a:endParaRPr>
          </a:p>
        </p:txBody>
      </p:sp>
    </p:spTree>
    <p:extLst>
      <p:ext uri="{BB962C8B-B14F-4D97-AF65-F5344CB8AC3E}">
        <p14:creationId xmlns:p14="http://schemas.microsoft.com/office/powerpoint/2010/main" val="23949744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7FC68AB7-E138-4102-B6B3-44D03BF010A0}"/>
              </a:ext>
            </a:extLst>
          </p:cNvPr>
          <p:cNvSpPr txBox="1">
            <a:spLocks/>
          </p:cNvSpPr>
          <p:nvPr/>
        </p:nvSpPr>
        <p:spPr>
          <a:xfrm>
            <a:off x="582246" y="29340"/>
            <a:ext cx="9340542" cy="568027"/>
          </a:xfrm>
          <a:prstGeom prst="rect">
            <a:avLst/>
          </a:prstGeom>
        </p:spPr>
        <p:txBody>
          <a:bodyPr lIns="91440" tIns="45720" rIns="91440" bIns="45720" anchor="t"/>
          <a:lstStyle>
            <a:lvl1pPr algn="l" defTabSz="914378" rtl="0" eaLnBrk="1" latinLnBrk="0" hangingPunct="1">
              <a:spcBef>
                <a:spcPct val="0"/>
              </a:spcBef>
              <a:buNone/>
              <a:defRPr sz="1500" kern="1200">
                <a:solidFill>
                  <a:schemeClr val="tx1"/>
                </a:solidFill>
                <a:latin typeface="+mj-lt"/>
                <a:ea typeface="+mj-ea"/>
                <a:cs typeface="+mj-cs"/>
              </a:defRPr>
            </a:lvl1pPr>
          </a:lstStyle>
          <a:p>
            <a:endParaRPr lang="en-US" sz="2800" b="1">
              <a:solidFill>
                <a:schemeClr val="bg1"/>
              </a:solidFill>
              <a:latin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0FE9D861-761B-4D84-A7D1-BD22A7454E00}"/>
              </a:ext>
            </a:extLst>
          </p:cNvPr>
          <p:cNvCxnSpPr>
            <a:cxnSpLocks/>
          </p:cNvCxnSpPr>
          <p:nvPr/>
        </p:nvCxnSpPr>
        <p:spPr>
          <a:xfrm>
            <a:off x="6406610" y="1365950"/>
            <a:ext cx="0" cy="3084890"/>
          </a:xfrm>
          <a:prstGeom prst="line">
            <a:avLst/>
          </a:prstGeom>
          <a:noFill/>
          <a:ln w="38100" cap="flat" cmpd="sng" algn="ctr">
            <a:solidFill>
              <a:srgbClr val="2E76BB"/>
            </a:solidFill>
            <a:prstDash val="solid"/>
          </a:ln>
          <a:effectLst/>
        </p:spPr>
      </p:cxnSp>
      <p:sp>
        <p:nvSpPr>
          <p:cNvPr id="4" name="TextBox 3">
            <a:extLst>
              <a:ext uri="{FF2B5EF4-FFF2-40B4-BE49-F238E27FC236}">
                <a16:creationId xmlns:a16="http://schemas.microsoft.com/office/drawing/2014/main" id="{D2970A47-2D2F-F555-8020-773F16871AB5}"/>
              </a:ext>
            </a:extLst>
          </p:cNvPr>
          <p:cNvSpPr txBox="1"/>
          <p:nvPr/>
        </p:nvSpPr>
        <p:spPr>
          <a:xfrm>
            <a:off x="6678853" y="1211015"/>
            <a:ext cx="4925379" cy="5042406"/>
          </a:xfrm>
          <a:prstGeom prst="rect">
            <a:avLst/>
          </a:prstGeom>
          <a:noFill/>
        </p:spPr>
        <p:txBody>
          <a:bodyPr wrap="square" lIns="91440" tIns="45720" rIns="91440" bIns="45720" anchor="t">
            <a:spAutoFit/>
          </a:bodyPr>
          <a:lstStyle/>
          <a:p>
            <a:pPr>
              <a:spcAft>
                <a:spcPts val="200"/>
              </a:spcAft>
              <a:buSzPct val="100000"/>
            </a:pPr>
            <a:r>
              <a:rPr lang="en-US" sz="2000" b="1" spc="300" dirty="0">
                <a:solidFill>
                  <a:srgbClr val="2E76BB"/>
                </a:solidFill>
                <a:latin typeface="Calibri"/>
                <a:cs typeface="Segoe UI"/>
              </a:rPr>
              <a:t>HIGHLIGHTS</a:t>
            </a:r>
            <a:endParaRPr lang="en-US" sz="2000" b="1" spc="300">
              <a:solidFill>
                <a:srgbClr val="2E76BB"/>
              </a:solidFill>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dirty="0">
                <a:latin typeface="Calibri"/>
                <a:cs typeface="Segoe UI"/>
              </a:rPr>
              <a:t>90+ grant programs </a:t>
            </a:r>
            <a:endParaRPr lang="en-US" sz="2000" i="1">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dirty="0">
                <a:latin typeface="Calibri"/>
                <a:cs typeface="Segoe UI"/>
              </a:rPr>
              <a:t>Covers DOT and Non-DOT Agencies</a:t>
            </a:r>
          </a:p>
          <a:p>
            <a:pPr marL="894715" lvl="1">
              <a:spcAft>
                <a:spcPts val="200"/>
              </a:spcAft>
              <a:buSzPct val="100000"/>
              <a:buFont typeface="Arial" panose="020B0604020202020204" pitchFamily="34" charset="0"/>
              <a:buChar char="•"/>
            </a:pPr>
            <a:r>
              <a:rPr lang="en-US" sz="2000" i="1" dirty="0">
                <a:latin typeface="Calibri"/>
                <a:cs typeface="Segoe UI"/>
              </a:rPr>
              <a:t>8 DOT Agencies</a:t>
            </a:r>
          </a:p>
          <a:p>
            <a:pPr marL="894715" lvl="1">
              <a:spcAft>
                <a:spcPts val="200"/>
              </a:spcAft>
              <a:buSzPct val="100000"/>
              <a:buFont typeface="Arial" panose="020B0604020202020204" pitchFamily="34" charset="0"/>
              <a:buChar char="•"/>
            </a:pPr>
            <a:r>
              <a:rPr lang="en-US" sz="2000" i="1" dirty="0">
                <a:latin typeface="Calibri"/>
                <a:cs typeface="Segoe UI"/>
              </a:rPr>
              <a:t>10+ Non-DOT Agencies</a:t>
            </a:r>
            <a:endParaRPr lang="en-US" sz="2000" i="1">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dirty="0">
                <a:latin typeface="Calibri"/>
                <a:cs typeface="Segoe UI"/>
              </a:rPr>
              <a:t>Multiple search filters</a:t>
            </a:r>
          </a:p>
          <a:p>
            <a:pPr marL="742950" lvl="1">
              <a:spcAft>
                <a:spcPts val="200"/>
              </a:spcAft>
              <a:buSzPct val="100000"/>
              <a:buFont typeface="Arial" panose="020B0604020202020204" pitchFamily="34" charset="0"/>
              <a:buChar char="•"/>
            </a:pPr>
            <a:r>
              <a:rPr lang="en-US" sz="2000" dirty="0">
                <a:latin typeface="Calibri"/>
                <a:cs typeface="Segoe UI"/>
              </a:rPr>
              <a:t>Keyword</a:t>
            </a:r>
          </a:p>
          <a:p>
            <a:pPr marL="742950" lvl="1">
              <a:spcAft>
                <a:spcPts val="200"/>
              </a:spcAft>
              <a:buSzPct val="100000"/>
              <a:buFont typeface="Arial" panose="020B0604020202020204" pitchFamily="34" charset="0"/>
              <a:buChar char="•"/>
            </a:pPr>
            <a:r>
              <a:rPr lang="en-US" sz="2000" dirty="0">
                <a:latin typeface="Calibri"/>
                <a:cs typeface="Segoe UI"/>
              </a:rPr>
              <a:t>Eligible Activities</a:t>
            </a:r>
          </a:p>
          <a:p>
            <a:pPr marL="742950" lvl="1">
              <a:spcAft>
                <a:spcPts val="200"/>
              </a:spcAft>
              <a:buSzPct val="100000"/>
              <a:buFont typeface="Arial" panose="020B0604020202020204" pitchFamily="34" charset="0"/>
              <a:buChar char="•"/>
            </a:pPr>
            <a:r>
              <a:rPr lang="en-US" sz="2000" dirty="0">
                <a:latin typeface="Calibri"/>
                <a:cs typeface="Segoe UI"/>
              </a:rPr>
              <a:t>Eligible Entities</a:t>
            </a:r>
          </a:p>
          <a:p>
            <a:pPr marL="742950" lvl="1">
              <a:spcAft>
                <a:spcPts val="200"/>
              </a:spcAft>
              <a:buSzPct val="100000"/>
              <a:buFont typeface="Arial" panose="020B0604020202020204" pitchFamily="34" charset="0"/>
              <a:buChar char="•"/>
            </a:pPr>
            <a:r>
              <a:rPr lang="en-US" sz="2000" dirty="0">
                <a:latin typeface="Calibri"/>
                <a:cs typeface="Segoe UI"/>
              </a:rPr>
              <a:t>Transportation Type</a:t>
            </a:r>
          </a:p>
          <a:p>
            <a:pPr marL="742950" lvl="1">
              <a:spcAft>
                <a:spcPts val="200"/>
              </a:spcAft>
              <a:buSzPct val="100000"/>
              <a:buFont typeface="Arial" panose="020B0604020202020204" pitchFamily="34" charset="0"/>
              <a:buChar char="•"/>
            </a:pPr>
            <a:r>
              <a:rPr lang="en-US" sz="2000" dirty="0">
                <a:latin typeface="Calibri"/>
                <a:cs typeface="Segoe UI"/>
              </a:rPr>
              <a:t>Match Waiver</a:t>
            </a:r>
          </a:p>
          <a:p>
            <a:pPr marL="742950" lvl="1">
              <a:spcAft>
                <a:spcPts val="200"/>
              </a:spcAft>
              <a:buSzPct val="100000"/>
              <a:buFont typeface="Arial" panose="020B0604020202020204" pitchFamily="34" charset="0"/>
              <a:buChar char="•"/>
            </a:pPr>
            <a:r>
              <a:rPr lang="en-US" sz="2000" dirty="0">
                <a:latin typeface="Calibri"/>
                <a:cs typeface="Segoe UI"/>
              </a:rPr>
              <a:t>Status (Open/Closed)</a:t>
            </a:r>
          </a:p>
          <a:p>
            <a:pPr marL="285750">
              <a:spcAft>
                <a:spcPts val="200"/>
              </a:spcAft>
              <a:buSzPct val="100000"/>
              <a:buFont typeface="Arial" panose="020B0604020202020204" pitchFamily="34" charset="0"/>
              <a:buChar char="•"/>
            </a:pPr>
            <a:r>
              <a:rPr lang="en-US" sz="2000" dirty="0">
                <a:latin typeface="Calibri"/>
                <a:cs typeface="Segoe UI"/>
              </a:rPr>
              <a:t>Customized features for Rural and Tribal communities</a:t>
            </a:r>
            <a:endParaRPr lang="en-US" sz="2000">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dirty="0">
                <a:latin typeface="Calibri"/>
                <a:cs typeface="Segoe UI"/>
              </a:rPr>
              <a:t>Save results as Excel csv file</a:t>
            </a:r>
          </a:p>
        </p:txBody>
      </p:sp>
      <p:pic>
        <p:nvPicPr>
          <p:cNvPr id="5" name="Picture 4">
            <a:extLst>
              <a:ext uri="{FF2B5EF4-FFF2-40B4-BE49-F238E27FC236}">
                <a16:creationId xmlns:a16="http://schemas.microsoft.com/office/drawing/2014/main" id="{AF52DC0B-9FD0-48D4-975B-A591FD2F488C}"/>
              </a:ext>
            </a:extLst>
          </p:cNvPr>
          <p:cNvPicPr>
            <a:picLocks noChangeAspect="1"/>
          </p:cNvPicPr>
          <p:nvPr/>
        </p:nvPicPr>
        <p:blipFill>
          <a:blip r:embed="rId3"/>
          <a:stretch>
            <a:fillRect/>
          </a:stretch>
        </p:blipFill>
        <p:spPr>
          <a:xfrm>
            <a:off x="203774" y="1207961"/>
            <a:ext cx="6113529" cy="3251417"/>
          </a:xfrm>
          <a:prstGeom prst="rect">
            <a:avLst/>
          </a:prstGeom>
        </p:spPr>
      </p:pic>
      <p:pic>
        <p:nvPicPr>
          <p:cNvPr id="3" name="Picture 2" descr="Qr code&#10;&#10;Description automatically generated">
            <a:extLst>
              <a:ext uri="{FF2B5EF4-FFF2-40B4-BE49-F238E27FC236}">
                <a16:creationId xmlns:a16="http://schemas.microsoft.com/office/drawing/2014/main" id="{9BEC1FB7-7901-37EC-69FD-70A6D14320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1921" y="4608092"/>
            <a:ext cx="2108914" cy="2108914"/>
          </a:xfrm>
          <a:prstGeom prst="rect">
            <a:avLst/>
          </a:prstGeom>
        </p:spPr>
      </p:pic>
      <p:sp>
        <p:nvSpPr>
          <p:cNvPr id="10" name="Title 1">
            <a:extLst>
              <a:ext uri="{FF2B5EF4-FFF2-40B4-BE49-F238E27FC236}">
                <a16:creationId xmlns:a16="http://schemas.microsoft.com/office/drawing/2014/main" id="{3AA75748-7AE5-02D1-620D-C26E2DF96123}"/>
              </a:ext>
            </a:extLst>
          </p:cNvPr>
          <p:cNvSpPr txBox="1">
            <a:spLocks/>
          </p:cNvSpPr>
          <p:nvPr/>
        </p:nvSpPr>
        <p:spPr>
          <a:xfrm>
            <a:off x="838200" y="141767"/>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cs typeface="Times"/>
              </a:rPr>
              <a:t>DOT Discretionary Grants Dashboard</a:t>
            </a:r>
            <a:endParaRPr lang="en-US"/>
          </a:p>
        </p:txBody>
      </p:sp>
    </p:spTree>
    <p:extLst>
      <p:ext uri="{BB962C8B-B14F-4D97-AF65-F5344CB8AC3E}">
        <p14:creationId xmlns:p14="http://schemas.microsoft.com/office/powerpoint/2010/main" val="1740509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7FC68AB7-E138-4102-B6B3-44D03BF010A0}"/>
              </a:ext>
            </a:extLst>
          </p:cNvPr>
          <p:cNvSpPr txBox="1">
            <a:spLocks/>
          </p:cNvSpPr>
          <p:nvPr/>
        </p:nvSpPr>
        <p:spPr>
          <a:xfrm>
            <a:off x="582246" y="29340"/>
            <a:ext cx="9340542" cy="568027"/>
          </a:xfrm>
          <a:prstGeom prst="rect">
            <a:avLst/>
          </a:prstGeom>
        </p:spPr>
        <p:txBody>
          <a:bodyPr lIns="91440" tIns="45720" rIns="91440" bIns="45720" anchor="t"/>
          <a:lstStyle>
            <a:lvl1pPr algn="l" defTabSz="914378" rtl="0" eaLnBrk="1" latinLnBrk="0" hangingPunct="1">
              <a:spcBef>
                <a:spcPct val="0"/>
              </a:spcBef>
              <a:buNone/>
              <a:defRPr sz="1500" kern="1200">
                <a:solidFill>
                  <a:schemeClr val="tx1"/>
                </a:solidFill>
                <a:latin typeface="+mj-lt"/>
                <a:ea typeface="+mj-ea"/>
                <a:cs typeface="+mj-cs"/>
              </a:defRPr>
            </a:lvl1pPr>
          </a:lstStyle>
          <a:p>
            <a:endParaRPr lang="en-US" sz="2800" b="1">
              <a:solidFill>
                <a:schemeClr val="bg1"/>
              </a:solidFill>
              <a:latin typeface="Segoe UI" panose="020B0502040204020203" pitchFamily="34" charset="0"/>
              <a:cs typeface="Segoe UI" panose="020B0502040204020203" pitchFamily="34" charset="0"/>
            </a:endParaRPr>
          </a:p>
        </p:txBody>
      </p:sp>
      <p:pic>
        <p:nvPicPr>
          <p:cNvPr id="3" name="Picture 2" descr="Qr code&#10;&#10;Description automatically generated">
            <a:extLst>
              <a:ext uri="{FF2B5EF4-FFF2-40B4-BE49-F238E27FC236}">
                <a16:creationId xmlns:a16="http://schemas.microsoft.com/office/drawing/2014/main" id="{9BEC1FB7-7901-37EC-69FD-70A6D14320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636" y="4743430"/>
            <a:ext cx="1942660" cy="1942660"/>
          </a:xfrm>
          <a:prstGeom prst="rect">
            <a:avLst/>
          </a:prstGeom>
        </p:spPr>
      </p:pic>
      <p:sp>
        <p:nvSpPr>
          <p:cNvPr id="10" name="Title 1">
            <a:extLst>
              <a:ext uri="{FF2B5EF4-FFF2-40B4-BE49-F238E27FC236}">
                <a16:creationId xmlns:a16="http://schemas.microsoft.com/office/drawing/2014/main" id="{3AA75748-7AE5-02D1-620D-C26E2DF96123}"/>
              </a:ext>
            </a:extLst>
          </p:cNvPr>
          <p:cNvSpPr txBox="1">
            <a:spLocks/>
          </p:cNvSpPr>
          <p:nvPr/>
        </p:nvSpPr>
        <p:spPr>
          <a:xfrm>
            <a:off x="838200" y="114058"/>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dirty="0">
                <a:cs typeface="Times"/>
              </a:rPr>
              <a:t>Dashboard Grant Pages</a:t>
            </a:r>
            <a:endParaRPr lang="en-US" dirty="0"/>
          </a:p>
        </p:txBody>
      </p:sp>
      <p:sp>
        <p:nvSpPr>
          <p:cNvPr id="9" name="Rectangle 8">
            <a:extLst>
              <a:ext uri="{FF2B5EF4-FFF2-40B4-BE49-F238E27FC236}">
                <a16:creationId xmlns:a16="http://schemas.microsoft.com/office/drawing/2014/main" id="{A4E01BF4-B4ED-12FB-FB40-8AD88ECE8B52}"/>
              </a:ext>
            </a:extLst>
          </p:cNvPr>
          <p:cNvSpPr/>
          <p:nvPr/>
        </p:nvSpPr>
        <p:spPr>
          <a:xfrm>
            <a:off x="586524" y="1191345"/>
            <a:ext cx="6521823" cy="3139321"/>
          </a:xfrm>
          <a:prstGeom prst="rect">
            <a:avLst/>
          </a:prstGeom>
        </p:spPr>
        <p:txBody>
          <a:bodyPr wrap="square" lIns="91440" tIns="45720" rIns="91440" bIns="45720" anchor="t">
            <a:spAutoFit/>
          </a:bodyPr>
          <a:lstStyle/>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a:ln>
                  <a:noFill/>
                </a:ln>
                <a:effectLst/>
                <a:uLnTx/>
                <a:uFillTx/>
                <a:latin typeface="Calibri"/>
                <a:cs typeface="Segoe UI"/>
              </a:rPr>
              <a:t>Brief summary</a:t>
            </a:r>
            <a:endParaRPr lang="en-US" sz="2200"/>
          </a:p>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a:ln>
                  <a:noFill/>
                </a:ln>
                <a:effectLst/>
                <a:uLnTx/>
                <a:uFillTx/>
                <a:latin typeface="Calibri"/>
                <a:cs typeface="Segoe UI"/>
              </a:rPr>
              <a:t>Current status</a:t>
            </a:r>
            <a:endParaRPr lang="en-US" sz="2200" b="0" i="0" u="none" strike="noStrike" kern="1200" cap="none" spc="0" normalizeH="0" baseline="0" noProof="0">
              <a:ln>
                <a:noFill/>
              </a:ln>
              <a:effectLst/>
              <a:uLnTx/>
              <a:uFillTx/>
              <a:latin typeface="Calibri"/>
              <a:cs typeface="Segoe UI"/>
            </a:endParaRPr>
          </a:p>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a:ln>
                  <a:noFill/>
                </a:ln>
                <a:effectLst/>
                <a:uLnTx/>
                <a:uFillTx/>
                <a:latin typeface="Calibri"/>
                <a:cs typeface="Segoe UI"/>
              </a:rPr>
              <a:t>Eligible applicants, activities, and transportation types</a:t>
            </a:r>
            <a:endParaRPr lang="en-US" sz="2200" b="0" i="0" u="none" strike="noStrike" kern="1200" cap="none" spc="0" normalizeH="0" baseline="0" noProof="0">
              <a:ln>
                <a:noFill/>
              </a:ln>
              <a:effectLst/>
              <a:uLnTx/>
              <a:uFillTx/>
              <a:latin typeface="Calibri"/>
              <a:cs typeface="Segoe UI"/>
            </a:endParaRPr>
          </a:p>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a:ln>
                  <a:noFill/>
                </a:ln>
                <a:effectLst/>
                <a:uLnTx/>
                <a:uFillTx/>
                <a:latin typeface="Calibri"/>
                <a:cs typeface="Segoe UI"/>
              </a:rPr>
              <a:t>Most recent annual program amount and individual award amount</a:t>
            </a:r>
            <a:endParaRPr lang="en-US" sz="2200" b="0" i="0" u="none" strike="noStrike" kern="1200" cap="none" spc="0" normalizeH="0" baseline="0" noProof="0">
              <a:ln>
                <a:noFill/>
              </a:ln>
              <a:effectLst/>
              <a:uLnTx/>
              <a:uFillTx/>
              <a:latin typeface="Calibri"/>
              <a:cs typeface="Segoe UI"/>
            </a:endParaRPr>
          </a:p>
          <a:p>
            <a:pPr marL="342265" indent="-342900" defTabSz="1219170">
              <a:buFont typeface="Arial" panose="020B0604020202020204" pitchFamily="34" charset="0"/>
              <a:buChar char="•"/>
              <a:defRPr/>
            </a:pPr>
            <a:r>
              <a:rPr kumimoji="0" lang="en-US" sz="2200" b="0" i="0" u="none" strike="noStrike" kern="1200" cap="none" spc="0" normalizeH="0" baseline="0" noProof="0" dirty="0">
                <a:ln>
                  <a:noFill/>
                </a:ln>
                <a:effectLst/>
                <a:uLnTx/>
                <a:uFillTx/>
                <a:latin typeface="Calibri"/>
                <a:cs typeface="Segoe UI"/>
              </a:rPr>
              <a:t>Match waiver and applicant match requirement</a:t>
            </a:r>
            <a:r>
              <a:rPr lang="en-US" sz="2200" dirty="0">
                <a:latin typeface="Calibri"/>
                <a:cs typeface="Segoe UI"/>
              </a:rPr>
              <a:t> </a:t>
            </a:r>
            <a:endParaRPr lang="en-US" sz="2200" b="0" i="0" u="none" strike="noStrike" kern="1200" cap="none" spc="0" normalizeH="0" baseline="0" noProof="0" dirty="0">
              <a:ln>
                <a:noFill/>
              </a:ln>
              <a:effectLst/>
              <a:uLnTx/>
              <a:uFillTx/>
              <a:latin typeface="Calibri"/>
              <a:cs typeface="Segoe UI" panose="020B0502040204020203" pitchFamily="34" charset="0"/>
            </a:endParaRPr>
          </a:p>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dirty="0">
                <a:ln>
                  <a:noFill/>
                </a:ln>
                <a:effectLst/>
                <a:uLnTx/>
                <a:uFillTx/>
                <a:latin typeface="Calibri"/>
                <a:cs typeface="Segoe UI"/>
              </a:rPr>
              <a:t>Links to Grants.gov page and additional information</a:t>
            </a:r>
            <a:endParaRPr lang="en-US" sz="2200" b="0" i="0" u="none" strike="noStrike" kern="1200" cap="none" spc="0" normalizeH="0" baseline="0" noProof="0" dirty="0">
              <a:ln>
                <a:noFill/>
              </a:ln>
              <a:effectLst/>
              <a:uLnTx/>
              <a:uFillTx/>
              <a:latin typeface="Calibri"/>
              <a:cs typeface="Segoe UI"/>
            </a:endParaRPr>
          </a:p>
          <a:p>
            <a:pPr marL="342265" marR="0" lvl="0" indent="-342900" algn="l" defTabSz="1219170" rtl="0" eaLnBrk="1" fontAlgn="auto" latinLnBrk="0" hangingPunct="1">
              <a:lnSpc>
                <a:spcPct val="100000"/>
              </a:lnSpc>
              <a:spcBef>
                <a:spcPts val="0"/>
              </a:spcBef>
              <a:buClrTx/>
              <a:buSzTx/>
              <a:buFont typeface="Arial" panose="020B0604020202020204" pitchFamily="34" charset="0"/>
              <a:buChar char="•"/>
              <a:tabLst/>
              <a:defRPr/>
            </a:pPr>
            <a:r>
              <a:rPr kumimoji="0" lang="en-US" sz="2200" b="0" i="0" u="none" strike="noStrike" kern="1200" cap="none" spc="0" normalizeH="0" baseline="0" noProof="0" dirty="0">
                <a:ln>
                  <a:noFill/>
                </a:ln>
                <a:effectLst/>
                <a:uLnTx/>
                <a:uFillTx/>
                <a:latin typeface="Calibri"/>
                <a:cs typeface="Segoe UI"/>
              </a:rPr>
              <a:t>Eligibility, Funding, and Contact Information</a:t>
            </a:r>
            <a:endParaRPr lang="en-US" sz="2200" b="0" i="0" u="none" strike="noStrike" kern="1200" cap="none" spc="0" normalizeH="0" baseline="0" noProof="0" dirty="0">
              <a:ln>
                <a:noFill/>
              </a:ln>
              <a:effectLst/>
              <a:uLnTx/>
              <a:uFillTx/>
              <a:latin typeface="Calibri"/>
              <a:cs typeface="Segoe UI"/>
            </a:endParaRPr>
          </a:p>
        </p:txBody>
      </p:sp>
      <p:pic>
        <p:nvPicPr>
          <p:cNvPr id="12" name="Picture 11">
            <a:extLst>
              <a:ext uri="{FF2B5EF4-FFF2-40B4-BE49-F238E27FC236}">
                <a16:creationId xmlns:a16="http://schemas.microsoft.com/office/drawing/2014/main" id="{F24FFA3E-98F0-E04A-A891-B9A1B4201862}"/>
              </a:ext>
            </a:extLst>
          </p:cNvPr>
          <p:cNvPicPr>
            <a:picLocks noChangeAspect="1"/>
          </p:cNvPicPr>
          <p:nvPr/>
        </p:nvPicPr>
        <p:blipFill>
          <a:blip r:embed="rId4"/>
          <a:stretch>
            <a:fillRect/>
          </a:stretch>
        </p:blipFill>
        <p:spPr>
          <a:xfrm>
            <a:off x="7662655" y="1195824"/>
            <a:ext cx="4138505" cy="4897679"/>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727881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4B4315A-2893-4659-B466-46D44B570A90}"/>
              </a:ext>
            </a:extLst>
          </p:cNvPr>
          <p:cNvSpPr txBox="1">
            <a:spLocks/>
          </p:cNvSpPr>
          <p:nvPr/>
        </p:nvSpPr>
        <p:spPr>
          <a:xfrm>
            <a:off x="962886" y="97972"/>
            <a:ext cx="11517543"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ea typeface="Verdana"/>
                <a:cs typeface="+mj-cs"/>
              </a:rPr>
              <a:t>DOT Navigator</a:t>
            </a:r>
          </a:p>
        </p:txBody>
      </p:sp>
      <p:pic>
        <p:nvPicPr>
          <p:cNvPr id="3" name="Picture 2" descr="Qr code&#10;&#10;Description automatically generated">
            <a:extLst>
              <a:ext uri="{FF2B5EF4-FFF2-40B4-BE49-F238E27FC236}">
                <a16:creationId xmlns:a16="http://schemas.microsoft.com/office/drawing/2014/main" id="{98D07A7D-BE4F-305A-0438-C972D48F1E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97628" y="-1488"/>
            <a:ext cx="792201" cy="829677"/>
          </a:xfrm>
          <a:prstGeom prst="rect">
            <a:avLst/>
          </a:prstGeom>
        </p:spPr>
      </p:pic>
      <p:pic>
        <p:nvPicPr>
          <p:cNvPr id="4" name="Picture 3">
            <a:extLst>
              <a:ext uri="{FF2B5EF4-FFF2-40B4-BE49-F238E27FC236}">
                <a16:creationId xmlns:a16="http://schemas.microsoft.com/office/drawing/2014/main" id="{2113FEE9-C2B2-BFE3-47F2-EDF8EBE186FA}"/>
              </a:ext>
            </a:extLst>
          </p:cNvPr>
          <p:cNvPicPr>
            <a:picLocks noChangeAspect="1"/>
          </p:cNvPicPr>
          <p:nvPr/>
        </p:nvPicPr>
        <p:blipFill>
          <a:blip r:embed="rId4"/>
          <a:stretch>
            <a:fillRect/>
          </a:stretch>
        </p:blipFill>
        <p:spPr>
          <a:xfrm>
            <a:off x="390642" y="1060928"/>
            <a:ext cx="5612124" cy="5493520"/>
          </a:xfrm>
          <a:prstGeom prst="rect">
            <a:avLst/>
          </a:prstGeom>
        </p:spPr>
      </p:pic>
      <p:pic>
        <p:nvPicPr>
          <p:cNvPr id="7" name="Picture 6">
            <a:extLst>
              <a:ext uri="{FF2B5EF4-FFF2-40B4-BE49-F238E27FC236}">
                <a16:creationId xmlns:a16="http://schemas.microsoft.com/office/drawing/2014/main" id="{C8955970-C64A-9652-1FD0-2B5F4D07BD28}"/>
              </a:ext>
            </a:extLst>
          </p:cNvPr>
          <p:cNvPicPr>
            <a:picLocks noChangeAspect="1"/>
          </p:cNvPicPr>
          <p:nvPr/>
        </p:nvPicPr>
        <p:blipFill>
          <a:blip r:embed="rId5"/>
          <a:stretch>
            <a:fillRect/>
          </a:stretch>
        </p:blipFill>
        <p:spPr>
          <a:xfrm>
            <a:off x="6188068" y="918564"/>
            <a:ext cx="5600537" cy="5733071"/>
          </a:xfrm>
          <a:prstGeom prst="rect">
            <a:avLst/>
          </a:prstGeom>
        </p:spPr>
      </p:pic>
    </p:spTree>
    <p:extLst>
      <p:ext uri="{BB962C8B-B14F-4D97-AF65-F5344CB8AC3E}">
        <p14:creationId xmlns:p14="http://schemas.microsoft.com/office/powerpoint/2010/main" val="2184568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6B50148-4DF9-87EE-0FDE-E6AB217C1486}"/>
              </a:ext>
            </a:extLst>
          </p:cNvPr>
          <p:cNvSpPr txBox="1">
            <a:spLocks/>
          </p:cNvSpPr>
          <p:nvPr/>
        </p:nvSpPr>
        <p:spPr>
          <a:xfrm>
            <a:off x="625607" y="122956"/>
            <a:ext cx="11517543"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prstClr val="white"/>
                </a:solidFill>
                <a:ea typeface="Verdana"/>
              </a:rPr>
              <a:t>Equitable Transportation Community (ETC) Explorer </a:t>
            </a:r>
            <a:endParaRPr kumimoji="0" lang="en-US" sz="2800" b="1" i="0" u="none" strike="noStrike" kern="1200" cap="none" spc="0" normalizeH="0" baseline="0" noProof="0" dirty="0">
              <a:ln>
                <a:noFill/>
              </a:ln>
              <a:solidFill>
                <a:prstClr val="white"/>
              </a:solidFill>
              <a:effectLst/>
              <a:uLnTx/>
              <a:uFillTx/>
              <a:ea typeface="Verdana"/>
              <a:cs typeface="+mj-cs"/>
            </a:endParaRPr>
          </a:p>
        </p:txBody>
      </p:sp>
      <p:graphicFrame>
        <p:nvGraphicFramePr>
          <p:cNvPr id="6" name="Table 5">
            <a:extLst>
              <a:ext uri="{FF2B5EF4-FFF2-40B4-BE49-F238E27FC236}">
                <a16:creationId xmlns:a16="http://schemas.microsoft.com/office/drawing/2014/main" id="{5F064969-1BEA-F474-5E10-BB5AC4EE3B80}"/>
              </a:ext>
            </a:extLst>
          </p:cNvPr>
          <p:cNvGraphicFramePr>
            <a:graphicFrameLocks noGrp="1"/>
          </p:cNvGraphicFramePr>
          <p:nvPr/>
        </p:nvGraphicFramePr>
        <p:xfrm>
          <a:off x="367466" y="1804912"/>
          <a:ext cx="2448910" cy="4407853"/>
        </p:xfrm>
        <a:graphic>
          <a:graphicData uri="http://schemas.openxmlformats.org/drawingml/2006/table">
            <a:tbl>
              <a:tblPr firstRow="1" firstCol="1" bandRow="1">
                <a:tableStyleId>{5940675A-B579-460E-94D1-54222C63F5DA}</a:tableStyleId>
              </a:tblPr>
              <a:tblGrid>
                <a:gridCol w="2448910">
                  <a:extLst>
                    <a:ext uri="{9D8B030D-6E8A-4147-A177-3AD203B41FA5}">
                      <a16:colId xmlns:a16="http://schemas.microsoft.com/office/drawing/2014/main" val="3702999109"/>
                    </a:ext>
                  </a:extLst>
                </a:gridCol>
              </a:tblGrid>
              <a:tr h="194593">
                <a:tc>
                  <a:txBody>
                    <a:bodyPr/>
                    <a:lstStyle/>
                    <a:p>
                      <a:pPr marL="0" indent="0">
                        <a:lnSpc>
                          <a:spcPct val="105000"/>
                        </a:lnSpc>
                        <a:spcBef>
                          <a:spcPts val="0"/>
                        </a:spcBef>
                        <a:spcAft>
                          <a:spcPts val="300"/>
                        </a:spcAft>
                        <a:buFont typeface="Arial" panose="020B0604020202020204" pitchFamily="34" charset="0"/>
                        <a:buNone/>
                      </a:pPr>
                      <a:endParaRPr kumimoji="0" lang="en-US" sz="800" b="0" i="0" u="none" strike="noStrike" kern="1200" cap="none" spc="0" normalizeH="0" baseline="0" noProof="0" dirty="0">
                        <a:ln>
                          <a:noFill/>
                        </a:ln>
                        <a:solidFill>
                          <a:prstClr val="black"/>
                        </a:solidFill>
                        <a:effectLst/>
                        <a:uLnTx/>
                        <a:uFillTx/>
                        <a:latin typeface="+mn-lt"/>
                        <a:ea typeface="+mn-ea"/>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9916392"/>
                  </a:ext>
                </a:extLst>
              </a:tr>
              <a:tr h="2700209">
                <a:tc>
                  <a:txBody>
                    <a:bodyPr/>
                    <a:lstStyle/>
                    <a:p>
                      <a:pPr marL="640080" marR="0" lvl="1" indent="0">
                        <a:spcBef>
                          <a:spcPts val="0"/>
                        </a:spcBef>
                        <a:spcAft>
                          <a:spcPts val="800"/>
                        </a:spcAft>
                        <a:buFont typeface="Arial" panose="020B0604020202020204" pitchFamily="34" charset="0"/>
                        <a:buNone/>
                      </a:pPr>
                      <a:endParaRPr lang="en-US" sz="1000" b="1" i="1" dirty="0">
                        <a:solidFill>
                          <a:schemeClr val="accent6"/>
                        </a:solidFill>
                        <a:effectLst/>
                        <a:latin typeface="Calibri Light" panose="020F0302020204030204" pitchFamily="34" charset="0"/>
                        <a:ea typeface="Calibri" panose="020F0502020204030204" pitchFamily="34" charset="0"/>
                        <a:cs typeface="Calibri Light" panose="020F0302020204030204" pitchFamily="34" charset="0"/>
                      </a:endParaRPr>
                    </a:p>
                    <a:p>
                      <a:pPr marL="640080" marR="0" lvl="1"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i="1" dirty="0">
                          <a:solidFill>
                            <a:srgbClr val="1084B5"/>
                          </a:solidFill>
                          <a:latin typeface="Calibri" panose="020F0502020204030204" pitchFamily="34" charset="0"/>
                          <a:ea typeface="Calibri" panose="020F0502020204030204" pitchFamily="34" charset="0"/>
                          <a:cs typeface="Calibri" panose="020F0502020204030204" pitchFamily="34" charset="0"/>
                        </a:rPr>
                        <a:t>Transportation-specific disadvantage index</a:t>
                      </a:r>
                    </a:p>
                    <a:p>
                      <a:pPr marL="640080" marR="0" lvl="1"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i="0" dirty="0">
                          <a:latin typeface="Calibri" panose="020F0502020204030204" pitchFamily="34" charset="0"/>
                          <a:ea typeface="Calibri" panose="020F0502020204030204" pitchFamily="34" charset="0"/>
                          <a:cs typeface="Calibri" panose="020F0502020204030204" pitchFamily="34" charset="0"/>
                        </a:rPr>
                        <a:t>Incorporates</a:t>
                      </a:r>
                      <a:r>
                        <a:rPr lang="en-US" sz="1000" b="1" i="0" dirty="0">
                          <a:latin typeface="Calibri" panose="020F0502020204030204" pitchFamily="34" charset="0"/>
                          <a:ea typeface="Calibri" panose="020F0502020204030204" pitchFamily="34" charset="0"/>
                          <a:cs typeface="Calibri" panose="020F0502020204030204" pitchFamily="34" charset="0"/>
                        </a:rPr>
                        <a:t> 40+ data elements </a:t>
                      </a:r>
                      <a:r>
                        <a:rPr lang="en-US" sz="1000" b="0" i="0" dirty="0">
                          <a:latin typeface="Calibri" panose="020F0502020204030204" pitchFamily="34" charset="0"/>
                          <a:ea typeface="Calibri" panose="020F0502020204030204" pitchFamily="34" charset="0"/>
                          <a:cs typeface="Calibri" panose="020F0502020204030204" pitchFamily="34" charset="0"/>
                        </a:rPr>
                        <a:t>across </a:t>
                      </a:r>
                      <a:r>
                        <a:rPr lang="en-US" sz="1000" b="1" i="0" dirty="0">
                          <a:latin typeface="Calibri" panose="020F0502020204030204" pitchFamily="34" charset="0"/>
                          <a:ea typeface="Calibri" panose="020F0502020204030204" pitchFamily="34" charset="0"/>
                          <a:cs typeface="Calibri" panose="020F0502020204030204" pitchFamily="34" charset="0"/>
                        </a:rPr>
                        <a:t>5 categories of disadvantage</a:t>
                      </a:r>
                      <a:r>
                        <a:rPr lang="en-US" sz="1000" b="0" i="0" dirty="0">
                          <a:latin typeface="Calibri" panose="020F0502020204030204" pitchFamily="34" charset="0"/>
                          <a:ea typeface="Calibri" panose="020F0502020204030204" pitchFamily="34" charset="0"/>
                          <a:cs typeface="Calibri" panose="020F0502020204030204" pitchFamily="34" charset="0"/>
                        </a:rPr>
                        <a:t>: Transportation Insecurity, Health Vulnerability, Climate/Hazard Risk Component, Environmental Burden, Socioeconomic Vulnerability</a:t>
                      </a:r>
                    </a:p>
                    <a:p>
                      <a:pPr marL="640080" marR="0" lvl="1" indent="0">
                        <a:spcBef>
                          <a:spcPts val="0"/>
                        </a:spcBef>
                        <a:spcAft>
                          <a:spcPts val="400"/>
                        </a:spcAft>
                        <a:buFont typeface="Arial" panose="020B0604020202020204" pitchFamily="34" charset="0"/>
                        <a:buNone/>
                      </a:pPr>
                      <a:r>
                        <a:rPr lang="en-US" sz="1200" b="1" i="1" dirty="0">
                          <a:solidFill>
                            <a:srgbClr val="0A1F61"/>
                          </a:solidFill>
                          <a:effectLst/>
                          <a:latin typeface="Calibri" panose="020F0502020204030204" pitchFamily="34" charset="0"/>
                          <a:ea typeface="Calibri" panose="020F0502020204030204" pitchFamily="34" charset="0"/>
                          <a:cs typeface="Calibri" panose="020F0502020204030204" pitchFamily="34" charset="0"/>
                        </a:rPr>
                        <a:t>Transportation Insecurity &amp; Access Tool (TIAT)*</a:t>
                      </a:r>
                      <a:r>
                        <a:rPr lang="en-US" sz="1200" b="0" i="0" dirty="0">
                          <a:solidFill>
                            <a:srgbClr val="0A1F61"/>
                          </a:solidFill>
                          <a:effectLst/>
                          <a:latin typeface="Calibri" panose="020F0502020204030204" pitchFamily="34" charset="0"/>
                          <a:ea typeface="Calibri" panose="020F0502020204030204" pitchFamily="34" charset="0"/>
                          <a:cs typeface="Calibri" panose="020F0502020204030204" pitchFamily="34" charset="0"/>
                        </a:rPr>
                        <a:t>      </a:t>
                      </a:r>
                    </a:p>
                    <a:p>
                      <a:pPr marL="640080" marR="0" lvl="1" indent="0">
                        <a:spcBef>
                          <a:spcPts val="0"/>
                        </a:spcBef>
                        <a:spcAft>
                          <a:spcPts val="300"/>
                        </a:spcAft>
                        <a:buFont typeface="Arial" panose="020B0604020202020204" pitchFamily="34" charset="0"/>
                        <a:buNone/>
                      </a:pPr>
                      <a:r>
                        <a:rPr lang="en-US" sz="1000" dirty="0"/>
                        <a:t>Visually displays the raw data for a select group of indicators related to </a:t>
                      </a:r>
                      <a:r>
                        <a:rPr lang="en-US" sz="1000" b="1" dirty="0"/>
                        <a:t>cost, access, and safety</a:t>
                      </a:r>
                      <a:r>
                        <a:rPr lang="en-US" sz="1000" dirty="0"/>
                        <a:t> at the state or national level, that reflect transportation insecurity. </a:t>
                      </a:r>
                    </a:p>
                    <a:p>
                      <a:pPr marL="640080" marR="0" lvl="1" indent="0">
                        <a:spcBef>
                          <a:spcPts val="0"/>
                        </a:spcBef>
                        <a:spcAft>
                          <a:spcPts val="800"/>
                        </a:spcAft>
                        <a:buFont typeface="Arial" panose="020B0604020202020204" pitchFamily="34" charset="0"/>
                        <a:buNone/>
                      </a:pPr>
                      <a:r>
                        <a:rPr lang="en-US" sz="1200" b="1" i="1" dirty="0">
                          <a:solidFill>
                            <a:schemeClr val="tx2">
                              <a:lumMod val="75000"/>
                            </a:schemeClr>
                          </a:solidFill>
                          <a:effectLst/>
                          <a:latin typeface="Calibri" panose="020F0502020204030204" pitchFamily="34" charset="0"/>
                          <a:ea typeface="Calibri" panose="020F0502020204030204" pitchFamily="34" charset="0"/>
                          <a:cs typeface="Calibri" panose="020F0502020204030204" pitchFamily="34" charset="0"/>
                        </a:rPr>
                        <a:t>Latest Census Tracts</a:t>
                      </a:r>
                      <a:br>
                        <a:rPr lang="en-US" sz="1000" b="0" i="0" dirty="0">
                          <a:solidFill>
                            <a:schemeClr val="accent5"/>
                          </a:solidFill>
                          <a:effectLst/>
                          <a:ea typeface="Calibri" panose="020F0502020204030204" pitchFamily="34" charset="0"/>
                          <a:cs typeface="Times New Roman" panose="02020603050405020304" pitchFamily="18" charset="0"/>
                        </a:rPr>
                      </a:br>
                      <a:r>
                        <a:rPr lang="en-US" sz="1000" b="0" i="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corporates 2020 U.S. Census Tracts and data from sources including NOAA, USDOT, FEMA, EPA, Census Bureau, BIA, MRLC, DHS, CDC, DOI, and Esri. </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195773"/>
                  </a:ext>
                </a:extLst>
              </a:tr>
            </a:tbl>
          </a:graphicData>
        </a:graphic>
      </p:graphicFrame>
      <p:grpSp>
        <p:nvGrpSpPr>
          <p:cNvPr id="11" name="Graphic 4">
            <a:extLst>
              <a:ext uri="{FF2B5EF4-FFF2-40B4-BE49-F238E27FC236}">
                <a16:creationId xmlns:a16="http://schemas.microsoft.com/office/drawing/2014/main" id="{953A4EB2-2981-6752-7C76-74BDCB751005}"/>
              </a:ext>
            </a:extLst>
          </p:cNvPr>
          <p:cNvGrpSpPr>
            <a:grpSpLocks noChangeAspect="1"/>
          </p:cNvGrpSpPr>
          <p:nvPr/>
        </p:nvGrpSpPr>
        <p:grpSpPr>
          <a:xfrm>
            <a:off x="410614" y="3858001"/>
            <a:ext cx="545817" cy="563359"/>
            <a:chOff x="2560445" y="918178"/>
            <a:chExt cx="362309" cy="361971"/>
          </a:xfrm>
          <a:solidFill>
            <a:srgbClr val="002060"/>
          </a:solidFill>
        </p:grpSpPr>
        <p:sp>
          <p:nvSpPr>
            <p:cNvPr id="8" name="Graphic 4">
              <a:extLst>
                <a:ext uri="{FF2B5EF4-FFF2-40B4-BE49-F238E27FC236}">
                  <a16:creationId xmlns:a16="http://schemas.microsoft.com/office/drawing/2014/main" id="{AD10645D-90F8-F732-ACAE-1467C28EB23B}"/>
                </a:ext>
              </a:extLst>
            </p:cNvPr>
            <p:cNvSpPr/>
            <p:nvPr/>
          </p:nvSpPr>
          <p:spPr>
            <a:xfrm>
              <a:off x="2560445" y="918178"/>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737"/>
                    <a:pt x="88181" y="12768"/>
                    <a:pt x="180835" y="12768"/>
                  </a:cubicBezTo>
                  <a:cubicBezTo>
                    <a:pt x="273489" y="12768"/>
                    <a:pt x="349529" y="88099"/>
                    <a:pt x="349529" y="180667"/>
                  </a:cubicBezTo>
                  <a:cubicBezTo>
                    <a:pt x="349529" y="180667"/>
                    <a:pt x="349529" y="180667"/>
                    <a:pt x="349529" y="180667"/>
                  </a:cubicBezTo>
                  <a:cubicBezTo>
                    <a:pt x="349529" y="273873"/>
                    <a:pt x="274128"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 name="Graphic 4">
              <a:extLst>
                <a:ext uri="{FF2B5EF4-FFF2-40B4-BE49-F238E27FC236}">
                  <a16:creationId xmlns:a16="http://schemas.microsoft.com/office/drawing/2014/main" id="{5DED47C8-2016-6E26-6F46-D88AF1FBF038}"/>
                </a:ext>
              </a:extLst>
            </p:cNvPr>
            <p:cNvSpPr/>
            <p:nvPr/>
          </p:nvSpPr>
          <p:spPr>
            <a:xfrm>
              <a:off x="2645163" y="989041"/>
              <a:ext cx="193239" cy="219608"/>
            </a:xfrm>
            <a:custGeom>
              <a:avLst/>
              <a:gdLst>
                <a:gd name="connsiteX0" fmla="*/ 184295 w 193240"/>
                <a:gd name="connsiteY0" fmla="*/ 150024 h 219608"/>
                <a:gd name="connsiteX1" fmla="*/ 128063 w 193240"/>
                <a:gd name="connsiteY1" fmla="*/ 142363 h 219608"/>
                <a:gd name="connsiteX2" fmla="*/ 154901 w 193240"/>
                <a:gd name="connsiteY2" fmla="*/ 102144 h 219608"/>
                <a:gd name="connsiteX3" fmla="*/ 164486 w 193240"/>
                <a:gd name="connsiteY3" fmla="*/ 68309 h 219608"/>
                <a:gd name="connsiteX4" fmla="*/ 96753 w 193240"/>
                <a:gd name="connsiteY4" fmla="*/ 0 h 219608"/>
                <a:gd name="connsiteX5" fmla="*/ 96753 w 193240"/>
                <a:gd name="connsiteY5" fmla="*/ 0 h 219608"/>
                <a:gd name="connsiteX6" fmla="*/ 28380 w 193240"/>
                <a:gd name="connsiteY6" fmla="*/ 68309 h 219608"/>
                <a:gd name="connsiteX7" fmla="*/ 28380 w 193240"/>
                <a:gd name="connsiteY7" fmla="*/ 68309 h 219608"/>
                <a:gd name="connsiteX8" fmla="*/ 37965 w 193240"/>
                <a:gd name="connsiteY8" fmla="*/ 102782 h 219608"/>
                <a:gd name="connsiteX9" fmla="*/ 67359 w 193240"/>
                <a:gd name="connsiteY9" fmla="*/ 147470 h 219608"/>
                <a:gd name="connsiteX10" fmla="*/ 24546 w 193240"/>
                <a:gd name="connsiteY10" fmla="*/ 138532 h 219608"/>
                <a:gd name="connsiteX11" fmla="*/ 16879 w 193240"/>
                <a:gd name="connsiteY11" fmla="*/ 143001 h 219608"/>
                <a:gd name="connsiteX12" fmla="*/ 265 w 193240"/>
                <a:gd name="connsiteY12" fmla="*/ 202372 h 219608"/>
                <a:gd name="connsiteX13" fmla="*/ 904 w 193240"/>
                <a:gd name="connsiteY13" fmla="*/ 207479 h 219608"/>
                <a:gd name="connsiteX14" fmla="*/ 5377 w 193240"/>
                <a:gd name="connsiteY14" fmla="*/ 210033 h 219608"/>
                <a:gd name="connsiteX15" fmla="*/ 60330 w 193240"/>
                <a:gd name="connsiteY15" fmla="*/ 219609 h 219608"/>
                <a:gd name="connsiteX16" fmla="*/ 61608 w 193240"/>
                <a:gd name="connsiteY16" fmla="*/ 219609 h 219608"/>
                <a:gd name="connsiteX17" fmla="*/ 61608 w 193240"/>
                <a:gd name="connsiteY17" fmla="*/ 219609 h 219608"/>
                <a:gd name="connsiteX18" fmla="*/ 62886 w 193240"/>
                <a:gd name="connsiteY18" fmla="*/ 219609 h 219608"/>
                <a:gd name="connsiteX19" fmla="*/ 130619 w 193240"/>
                <a:gd name="connsiteY19" fmla="*/ 204926 h 219608"/>
                <a:gd name="connsiteX20" fmla="*/ 184934 w 193240"/>
                <a:gd name="connsiteY20" fmla="*/ 218332 h 219608"/>
                <a:gd name="connsiteX21" fmla="*/ 190685 w 193240"/>
                <a:gd name="connsiteY21" fmla="*/ 217055 h 219608"/>
                <a:gd name="connsiteX22" fmla="*/ 193241 w 193240"/>
                <a:gd name="connsiteY22" fmla="*/ 211948 h 219608"/>
                <a:gd name="connsiteX23" fmla="*/ 190046 w 193240"/>
                <a:gd name="connsiteY23" fmla="*/ 156408 h 219608"/>
                <a:gd name="connsiteX24" fmla="*/ 184295 w 193240"/>
                <a:gd name="connsiteY24" fmla="*/ 150024 h 219608"/>
                <a:gd name="connsiteX25" fmla="*/ 80778 w 193240"/>
                <a:gd name="connsiteY25" fmla="*/ 167260 h 219608"/>
                <a:gd name="connsiteX26" fmla="*/ 86529 w 193240"/>
                <a:gd name="connsiteY26" fmla="*/ 175560 h 219608"/>
                <a:gd name="connsiteX27" fmla="*/ 96753 w 193240"/>
                <a:gd name="connsiteY27" fmla="*/ 180667 h 219608"/>
                <a:gd name="connsiteX28" fmla="*/ 96753 w 193240"/>
                <a:gd name="connsiteY28" fmla="*/ 180667 h 219608"/>
                <a:gd name="connsiteX29" fmla="*/ 106977 w 193240"/>
                <a:gd name="connsiteY29" fmla="*/ 175560 h 219608"/>
                <a:gd name="connsiteX30" fmla="*/ 121034 w 193240"/>
                <a:gd name="connsiteY30" fmla="*/ 154492 h 219608"/>
                <a:gd name="connsiteX31" fmla="*/ 124868 w 193240"/>
                <a:gd name="connsiteY31" fmla="*/ 193435 h 219608"/>
                <a:gd name="connsiteX32" fmla="*/ 71832 w 193240"/>
                <a:gd name="connsiteY32" fmla="*/ 205564 h 219608"/>
                <a:gd name="connsiteX33" fmla="*/ 80778 w 193240"/>
                <a:gd name="connsiteY33" fmla="*/ 167260 h 219608"/>
                <a:gd name="connsiteX34" fmla="*/ 41160 w 193240"/>
                <a:gd name="connsiteY34" fmla="*/ 68309 h 219608"/>
                <a:gd name="connsiteX35" fmla="*/ 96114 w 193240"/>
                <a:gd name="connsiteY35" fmla="*/ 12768 h 219608"/>
                <a:gd name="connsiteX36" fmla="*/ 96753 w 193240"/>
                <a:gd name="connsiteY36" fmla="*/ 12768 h 219608"/>
                <a:gd name="connsiteX37" fmla="*/ 151706 w 193240"/>
                <a:gd name="connsiteY37" fmla="*/ 68309 h 219608"/>
                <a:gd name="connsiteX38" fmla="*/ 144038 w 193240"/>
                <a:gd name="connsiteY38" fmla="*/ 95760 h 219608"/>
                <a:gd name="connsiteX39" fmla="*/ 96114 w 193240"/>
                <a:gd name="connsiteY39" fmla="*/ 167899 h 219608"/>
                <a:gd name="connsiteX40" fmla="*/ 48828 w 193240"/>
                <a:gd name="connsiteY40" fmla="*/ 96398 h 219608"/>
                <a:gd name="connsiteX41" fmla="*/ 41160 w 193240"/>
                <a:gd name="connsiteY41" fmla="*/ 68309 h 219608"/>
                <a:gd name="connsiteX42" fmla="*/ 27741 w 193240"/>
                <a:gd name="connsiteY42" fmla="*/ 151939 h 219608"/>
                <a:gd name="connsiteX43" fmla="*/ 69276 w 193240"/>
                <a:gd name="connsiteY43" fmla="*/ 160876 h 219608"/>
                <a:gd name="connsiteX44" fmla="*/ 57135 w 193240"/>
                <a:gd name="connsiteY44" fmla="*/ 206203 h 219608"/>
                <a:gd name="connsiteX45" fmla="*/ 14961 w 193240"/>
                <a:gd name="connsiteY45" fmla="*/ 198542 h 219608"/>
                <a:gd name="connsiteX46" fmla="*/ 27741 w 193240"/>
                <a:gd name="connsiteY46" fmla="*/ 151939 h 219608"/>
                <a:gd name="connsiteX47" fmla="*/ 136370 w 193240"/>
                <a:gd name="connsiteY47" fmla="*/ 193435 h 219608"/>
                <a:gd name="connsiteX48" fmla="*/ 133175 w 193240"/>
                <a:gd name="connsiteY48" fmla="*/ 156408 h 219608"/>
                <a:gd name="connsiteX49" fmla="*/ 177266 w 193240"/>
                <a:gd name="connsiteY49" fmla="*/ 162792 h 219608"/>
                <a:gd name="connsiteX50" fmla="*/ 179183 w 193240"/>
                <a:gd name="connsiteY50" fmla="*/ 204287 h 219608"/>
                <a:gd name="connsiteX51" fmla="*/ 136370 w 193240"/>
                <a:gd name="connsiteY51" fmla="*/ 193435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3240" h="219608">
                  <a:moveTo>
                    <a:pt x="184295" y="150024"/>
                  </a:moveTo>
                  <a:lnTo>
                    <a:pt x="128063" y="142363"/>
                  </a:lnTo>
                  <a:lnTo>
                    <a:pt x="154901" y="102144"/>
                  </a:lnTo>
                  <a:cubicBezTo>
                    <a:pt x="161291" y="91929"/>
                    <a:pt x="164486" y="79800"/>
                    <a:pt x="164486" y="68309"/>
                  </a:cubicBezTo>
                  <a:cubicBezTo>
                    <a:pt x="164486" y="30643"/>
                    <a:pt x="133814" y="638"/>
                    <a:pt x="96753" y="0"/>
                  </a:cubicBezTo>
                  <a:lnTo>
                    <a:pt x="96753" y="0"/>
                  </a:lnTo>
                  <a:cubicBezTo>
                    <a:pt x="59052" y="0"/>
                    <a:pt x="28380" y="30643"/>
                    <a:pt x="28380" y="68309"/>
                  </a:cubicBezTo>
                  <a:cubicBezTo>
                    <a:pt x="28380" y="68309"/>
                    <a:pt x="28380" y="68309"/>
                    <a:pt x="28380" y="68309"/>
                  </a:cubicBezTo>
                  <a:cubicBezTo>
                    <a:pt x="28380" y="80438"/>
                    <a:pt x="31575" y="92568"/>
                    <a:pt x="37965" y="102782"/>
                  </a:cubicBezTo>
                  <a:lnTo>
                    <a:pt x="67359" y="147470"/>
                  </a:lnTo>
                  <a:lnTo>
                    <a:pt x="24546" y="138532"/>
                  </a:lnTo>
                  <a:cubicBezTo>
                    <a:pt x="21351" y="137894"/>
                    <a:pt x="18156" y="139809"/>
                    <a:pt x="16879" y="143001"/>
                  </a:cubicBezTo>
                  <a:lnTo>
                    <a:pt x="265" y="202372"/>
                  </a:lnTo>
                  <a:cubicBezTo>
                    <a:pt x="-374" y="204287"/>
                    <a:pt x="265" y="206203"/>
                    <a:pt x="904" y="207479"/>
                  </a:cubicBezTo>
                  <a:cubicBezTo>
                    <a:pt x="2182" y="208756"/>
                    <a:pt x="3460" y="210033"/>
                    <a:pt x="5377" y="210033"/>
                  </a:cubicBezTo>
                  <a:lnTo>
                    <a:pt x="60330" y="219609"/>
                  </a:lnTo>
                  <a:lnTo>
                    <a:pt x="61608" y="219609"/>
                  </a:lnTo>
                  <a:lnTo>
                    <a:pt x="61608" y="219609"/>
                  </a:lnTo>
                  <a:lnTo>
                    <a:pt x="62886" y="219609"/>
                  </a:lnTo>
                  <a:lnTo>
                    <a:pt x="130619" y="204926"/>
                  </a:lnTo>
                  <a:lnTo>
                    <a:pt x="184934" y="218332"/>
                  </a:lnTo>
                  <a:cubicBezTo>
                    <a:pt x="186851" y="218971"/>
                    <a:pt x="188768" y="218332"/>
                    <a:pt x="190685" y="217055"/>
                  </a:cubicBezTo>
                  <a:cubicBezTo>
                    <a:pt x="191963" y="215779"/>
                    <a:pt x="193241" y="213863"/>
                    <a:pt x="193241" y="211948"/>
                  </a:cubicBezTo>
                  <a:lnTo>
                    <a:pt x="190046" y="156408"/>
                  </a:lnTo>
                  <a:cubicBezTo>
                    <a:pt x="190046" y="153216"/>
                    <a:pt x="187490" y="150662"/>
                    <a:pt x="184295" y="150024"/>
                  </a:cubicBezTo>
                  <a:close/>
                  <a:moveTo>
                    <a:pt x="80778" y="167260"/>
                  </a:moveTo>
                  <a:lnTo>
                    <a:pt x="86529" y="175560"/>
                  </a:lnTo>
                  <a:cubicBezTo>
                    <a:pt x="88446" y="178752"/>
                    <a:pt x="92280" y="180667"/>
                    <a:pt x="96753" y="180667"/>
                  </a:cubicBezTo>
                  <a:lnTo>
                    <a:pt x="96753" y="180667"/>
                  </a:lnTo>
                  <a:cubicBezTo>
                    <a:pt x="100587" y="180667"/>
                    <a:pt x="104421" y="178752"/>
                    <a:pt x="106977" y="175560"/>
                  </a:cubicBezTo>
                  <a:lnTo>
                    <a:pt x="121034" y="154492"/>
                  </a:lnTo>
                  <a:lnTo>
                    <a:pt x="124868" y="193435"/>
                  </a:lnTo>
                  <a:lnTo>
                    <a:pt x="71832" y="205564"/>
                  </a:lnTo>
                  <a:lnTo>
                    <a:pt x="80778" y="167260"/>
                  </a:lnTo>
                  <a:close/>
                  <a:moveTo>
                    <a:pt x="41160" y="68309"/>
                  </a:moveTo>
                  <a:cubicBezTo>
                    <a:pt x="41160" y="37665"/>
                    <a:pt x="65442" y="13406"/>
                    <a:pt x="96114" y="12768"/>
                  </a:cubicBezTo>
                  <a:lnTo>
                    <a:pt x="96753" y="12768"/>
                  </a:lnTo>
                  <a:cubicBezTo>
                    <a:pt x="127424" y="12768"/>
                    <a:pt x="151706" y="37665"/>
                    <a:pt x="151706" y="68309"/>
                  </a:cubicBezTo>
                  <a:cubicBezTo>
                    <a:pt x="151706" y="77885"/>
                    <a:pt x="149150" y="87461"/>
                    <a:pt x="144038" y="95760"/>
                  </a:cubicBezTo>
                  <a:lnTo>
                    <a:pt x="96114" y="167899"/>
                  </a:lnTo>
                  <a:lnTo>
                    <a:pt x="48828" y="96398"/>
                  </a:lnTo>
                  <a:cubicBezTo>
                    <a:pt x="43716" y="87461"/>
                    <a:pt x="40521" y="77885"/>
                    <a:pt x="41160" y="68309"/>
                  </a:cubicBezTo>
                  <a:close/>
                  <a:moveTo>
                    <a:pt x="27741" y="151939"/>
                  </a:moveTo>
                  <a:lnTo>
                    <a:pt x="69276" y="160876"/>
                  </a:lnTo>
                  <a:lnTo>
                    <a:pt x="57135" y="206203"/>
                  </a:lnTo>
                  <a:lnTo>
                    <a:pt x="14961" y="198542"/>
                  </a:lnTo>
                  <a:lnTo>
                    <a:pt x="27741" y="151939"/>
                  </a:lnTo>
                  <a:close/>
                  <a:moveTo>
                    <a:pt x="136370" y="193435"/>
                  </a:moveTo>
                  <a:lnTo>
                    <a:pt x="133175" y="156408"/>
                  </a:lnTo>
                  <a:lnTo>
                    <a:pt x="177266" y="162792"/>
                  </a:lnTo>
                  <a:lnTo>
                    <a:pt x="179183" y="204287"/>
                  </a:lnTo>
                  <a:lnTo>
                    <a:pt x="136370" y="19343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Graphic 4">
              <a:extLst>
                <a:ext uri="{FF2B5EF4-FFF2-40B4-BE49-F238E27FC236}">
                  <a16:creationId xmlns:a16="http://schemas.microsoft.com/office/drawing/2014/main" id="{DBF822FD-5019-98BD-4344-2CEF1633AE7C}"/>
                </a:ext>
              </a:extLst>
            </p:cNvPr>
            <p:cNvSpPr/>
            <p:nvPr/>
          </p:nvSpPr>
          <p:spPr>
            <a:xfrm>
              <a:off x="2706777" y="1022876"/>
              <a:ext cx="69011" cy="68946"/>
            </a:xfrm>
            <a:custGeom>
              <a:avLst/>
              <a:gdLst>
                <a:gd name="connsiteX0" fmla="*/ 69011 w 69011"/>
                <a:gd name="connsiteY0" fmla="*/ 34473 h 68946"/>
                <a:gd name="connsiteX1" fmla="*/ 34506 w 69011"/>
                <a:gd name="connsiteY1" fmla="*/ 0 h 68946"/>
                <a:gd name="connsiteX2" fmla="*/ 0 w 69011"/>
                <a:gd name="connsiteY2" fmla="*/ 34473 h 68946"/>
                <a:gd name="connsiteX3" fmla="*/ 34506 w 69011"/>
                <a:gd name="connsiteY3" fmla="*/ 68947 h 68946"/>
                <a:gd name="connsiteX4" fmla="*/ 69011 w 69011"/>
                <a:gd name="connsiteY4" fmla="*/ 34473 h 68946"/>
                <a:gd name="connsiteX5" fmla="*/ 12780 w 69011"/>
                <a:gd name="connsiteY5" fmla="*/ 34473 h 68946"/>
                <a:gd name="connsiteX6" fmla="*/ 34506 w 69011"/>
                <a:gd name="connsiteY6" fmla="*/ 12768 h 68946"/>
                <a:gd name="connsiteX7" fmla="*/ 56231 w 69011"/>
                <a:gd name="connsiteY7" fmla="*/ 34473 h 68946"/>
                <a:gd name="connsiteX8" fmla="*/ 34506 w 69011"/>
                <a:gd name="connsiteY8" fmla="*/ 56179 h 68946"/>
                <a:gd name="connsiteX9" fmla="*/ 12780 w 69011"/>
                <a:gd name="connsiteY9" fmla="*/ 34473 h 68946"/>
                <a:gd name="connsiteX10" fmla="*/ 12780 w 69011"/>
                <a:gd name="connsiteY10" fmla="*/ 34473 h 6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68946">
                  <a:moveTo>
                    <a:pt x="69011" y="34473"/>
                  </a:moveTo>
                  <a:cubicBezTo>
                    <a:pt x="69011" y="15322"/>
                    <a:pt x="53675" y="0"/>
                    <a:pt x="34506" y="0"/>
                  </a:cubicBezTo>
                  <a:cubicBezTo>
                    <a:pt x="15336" y="0"/>
                    <a:pt x="0" y="15322"/>
                    <a:pt x="0" y="34473"/>
                  </a:cubicBezTo>
                  <a:cubicBezTo>
                    <a:pt x="0" y="53625"/>
                    <a:pt x="15336" y="68947"/>
                    <a:pt x="34506" y="68947"/>
                  </a:cubicBezTo>
                  <a:cubicBezTo>
                    <a:pt x="53675" y="68947"/>
                    <a:pt x="69011" y="53625"/>
                    <a:pt x="69011" y="34473"/>
                  </a:cubicBezTo>
                  <a:close/>
                  <a:moveTo>
                    <a:pt x="12780" y="34473"/>
                  </a:moveTo>
                  <a:cubicBezTo>
                    <a:pt x="12780" y="22344"/>
                    <a:pt x="22365" y="12768"/>
                    <a:pt x="34506" y="12768"/>
                  </a:cubicBezTo>
                  <a:cubicBezTo>
                    <a:pt x="46646" y="12768"/>
                    <a:pt x="56231" y="22344"/>
                    <a:pt x="56231" y="34473"/>
                  </a:cubicBezTo>
                  <a:cubicBezTo>
                    <a:pt x="56231" y="46603"/>
                    <a:pt x="46646" y="56179"/>
                    <a:pt x="34506" y="56179"/>
                  </a:cubicBezTo>
                  <a:cubicBezTo>
                    <a:pt x="22365" y="56179"/>
                    <a:pt x="12780" y="46603"/>
                    <a:pt x="12780" y="34473"/>
                  </a:cubicBezTo>
                  <a:lnTo>
                    <a:pt x="12780" y="3447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6" name="Group 62">
            <a:extLst>
              <a:ext uri="{FF2B5EF4-FFF2-40B4-BE49-F238E27FC236}">
                <a16:creationId xmlns:a16="http://schemas.microsoft.com/office/drawing/2014/main" id="{DD6CB713-80AC-407E-8384-D9976B94C3F8}"/>
              </a:ext>
            </a:extLst>
          </p:cNvPr>
          <p:cNvGrpSpPr>
            <a:grpSpLocks noChangeAspect="1"/>
          </p:cNvGrpSpPr>
          <p:nvPr/>
        </p:nvGrpSpPr>
        <p:grpSpPr bwMode="auto">
          <a:xfrm>
            <a:off x="415026" y="5579669"/>
            <a:ext cx="544743" cy="543146"/>
            <a:chOff x="5096" y="917"/>
            <a:chExt cx="341" cy="340"/>
          </a:xfrm>
          <a:solidFill>
            <a:schemeClr val="bg2">
              <a:lumMod val="50000"/>
            </a:schemeClr>
          </a:solidFill>
        </p:grpSpPr>
        <p:sp>
          <p:nvSpPr>
            <p:cNvPr id="13" name="Freeform 63">
              <a:extLst>
                <a:ext uri="{FF2B5EF4-FFF2-40B4-BE49-F238E27FC236}">
                  <a16:creationId xmlns:a16="http://schemas.microsoft.com/office/drawing/2014/main" id="{56AE25A2-0377-6A91-AA08-4E8E0E437C88}"/>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lumMod val="60000"/>
                  <a:lumOff val="4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64">
              <a:extLst>
                <a:ext uri="{FF2B5EF4-FFF2-40B4-BE49-F238E27FC236}">
                  <a16:creationId xmlns:a16="http://schemas.microsoft.com/office/drawing/2014/main" id="{D133EAD9-0C69-0254-2483-8CBF20BAE026}"/>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solidFill>
                <a:schemeClr val="tx2">
                  <a:lumMod val="60000"/>
                  <a:lumOff val="4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65">
              <a:extLst>
                <a:ext uri="{FF2B5EF4-FFF2-40B4-BE49-F238E27FC236}">
                  <a16:creationId xmlns:a16="http://schemas.microsoft.com/office/drawing/2014/main" id="{08F9B8C1-3DE5-6E8A-9CC5-976914556F81}"/>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lumMod val="60000"/>
                  <a:lumOff val="40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TextBox 17">
            <a:extLst>
              <a:ext uri="{FF2B5EF4-FFF2-40B4-BE49-F238E27FC236}">
                <a16:creationId xmlns:a16="http://schemas.microsoft.com/office/drawing/2014/main" id="{585072A6-0F65-74A4-B138-235B09C23B38}"/>
              </a:ext>
            </a:extLst>
          </p:cNvPr>
          <p:cNvSpPr txBox="1"/>
          <p:nvPr/>
        </p:nvSpPr>
        <p:spPr>
          <a:xfrm>
            <a:off x="735028" y="1908025"/>
            <a:ext cx="1623975" cy="276999"/>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KEY FEATURES &amp; DATA</a:t>
            </a:r>
          </a:p>
        </p:txBody>
      </p:sp>
      <p:pic>
        <p:nvPicPr>
          <p:cNvPr id="20" name="Picture 19">
            <a:extLst>
              <a:ext uri="{FF2B5EF4-FFF2-40B4-BE49-F238E27FC236}">
                <a16:creationId xmlns:a16="http://schemas.microsoft.com/office/drawing/2014/main" id="{4C36B9D8-6792-7700-1C4B-D3CDEA7647A8}"/>
              </a:ext>
            </a:extLst>
          </p:cNvPr>
          <p:cNvPicPr>
            <a:picLocks noChangeAspect="1"/>
          </p:cNvPicPr>
          <p:nvPr/>
        </p:nvPicPr>
        <p:blipFill>
          <a:blip r:embed="rId3"/>
          <a:stretch>
            <a:fillRect/>
          </a:stretch>
        </p:blipFill>
        <p:spPr>
          <a:xfrm>
            <a:off x="2862676" y="2025741"/>
            <a:ext cx="7111766" cy="4593424"/>
          </a:xfrm>
          <a:prstGeom prst="rect">
            <a:avLst/>
          </a:prstGeom>
          <a:ln>
            <a:solidFill>
              <a:schemeClr val="tx1"/>
            </a:solidFill>
          </a:ln>
        </p:spPr>
      </p:pic>
      <p:grpSp>
        <p:nvGrpSpPr>
          <p:cNvPr id="24" name="Group 853">
            <a:extLst>
              <a:ext uri="{FF2B5EF4-FFF2-40B4-BE49-F238E27FC236}">
                <a16:creationId xmlns:a16="http://schemas.microsoft.com/office/drawing/2014/main" id="{ED647C13-B437-C55D-6584-8EA08CE95FB7}"/>
              </a:ext>
              <a:ext uri="{C183D7F6-B498-43B3-948B-1728B52AA6E4}">
                <adec:decorative xmlns:adec="http://schemas.microsoft.com/office/drawing/2017/decorative" val="1"/>
              </a:ext>
            </a:extLst>
          </p:cNvPr>
          <p:cNvGrpSpPr>
            <a:grpSpLocks noChangeAspect="1"/>
          </p:cNvGrpSpPr>
          <p:nvPr/>
        </p:nvGrpSpPr>
        <p:grpSpPr bwMode="auto">
          <a:xfrm>
            <a:off x="458709" y="2314853"/>
            <a:ext cx="463875" cy="463874"/>
            <a:chOff x="5046" y="4010"/>
            <a:chExt cx="340" cy="340"/>
          </a:xfrm>
          <a:solidFill>
            <a:schemeClr val="accent6"/>
          </a:solidFill>
        </p:grpSpPr>
        <p:sp>
          <p:nvSpPr>
            <p:cNvPr id="22" name="Freeform 854">
              <a:extLst>
                <a:ext uri="{FF2B5EF4-FFF2-40B4-BE49-F238E27FC236}">
                  <a16:creationId xmlns:a16="http://schemas.microsoft.com/office/drawing/2014/main" id="{CC08655E-7548-D662-009B-31346CF83B61}"/>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855">
              <a:extLst>
                <a:ext uri="{FF2B5EF4-FFF2-40B4-BE49-F238E27FC236}">
                  <a16:creationId xmlns:a16="http://schemas.microsoft.com/office/drawing/2014/main" id="{ACA03D43-4304-5EDE-68EE-ACC6B18A838E}"/>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mn-cs"/>
              </a:endParaRPr>
            </a:p>
          </p:txBody>
        </p:sp>
      </p:grpSp>
      <p:cxnSp>
        <p:nvCxnSpPr>
          <p:cNvPr id="26" name="Straight Connector 25">
            <a:extLst>
              <a:ext uri="{FF2B5EF4-FFF2-40B4-BE49-F238E27FC236}">
                <a16:creationId xmlns:a16="http://schemas.microsoft.com/office/drawing/2014/main" id="{1AAEB27D-30C7-E3A1-8050-1BEAF54320F5}"/>
              </a:ext>
            </a:extLst>
          </p:cNvPr>
          <p:cNvCxnSpPr>
            <a:cxnSpLocks/>
          </p:cNvCxnSpPr>
          <p:nvPr/>
        </p:nvCxnSpPr>
        <p:spPr>
          <a:xfrm>
            <a:off x="10197959" y="2386546"/>
            <a:ext cx="0" cy="118872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A3719E0-A449-FB13-DD7F-C255A19149AD}"/>
              </a:ext>
            </a:extLst>
          </p:cNvPr>
          <p:cNvCxnSpPr>
            <a:cxnSpLocks/>
          </p:cNvCxnSpPr>
          <p:nvPr/>
        </p:nvCxnSpPr>
        <p:spPr>
          <a:xfrm>
            <a:off x="10197959" y="3834129"/>
            <a:ext cx="0" cy="100584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32EAD2D-CBB1-745F-ABDB-3AE2E0BF8902}"/>
              </a:ext>
            </a:extLst>
          </p:cNvPr>
          <p:cNvCxnSpPr>
            <a:cxnSpLocks/>
          </p:cNvCxnSpPr>
          <p:nvPr/>
        </p:nvCxnSpPr>
        <p:spPr>
          <a:xfrm>
            <a:off x="10197959" y="5288447"/>
            <a:ext cx="0" cy="100584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93CB0F9-5525-BE2F-9A7B-494E70F57864}"/>
              </a:ext>
            </a:extLst>
          </p:cNvPr>
          <p:cNvSpPr txBox="1"/>
          <p:nvPr/>
        </p:nvSpPr>
        <p:spPr>
          <a:xfrm>
            <a:off x="956431" y="6235983"/>
            <a:ext cx="16010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This is a tab within the ETC Explorer</a:t>
            </a:r>
          </a:p>
        </p:txBody>
      </p:sp>
      <p:sp>
        <p:nvSpPr>
          <p:cNvPr id="34" name="TextBox 33">
            <a:extLst>
              <a:ext uri="{FF2B5EF4-FFF2-40B4-BE49-F238E27FC236}">
                <a16:creationId xmlns:a16="http://schemas.microsoft.com/office/drawing/2014/main" id="{97FC65E5-F090-7222-297C-AB03D8F16982}"/>
              </a:ext>
            </a:extLst>
          </p:cNvPr>
          <p:cNvSpPr txBox="1"/>
          <p:nvPr/>
        </p:nvSpPr>
        <p:spPr>
          <a:xfrm>
            <a:off x="10087733" y="1980115"/>
            <a:ext cx="1623975" cy="276999"/>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ORE USERS</a:t>
            </a:r>
          </a:p>
        </p:txBody>
      </p:sp>
      <p:graphicFrame>
        <p:nvGraphicFramePr>
          <p:cNvPr id="36" name="Table 35">
            <a:extLst>
              <a:ext uri="{FF2B5EF4-FFF2-40B4-BE49-F238E27FC236}">
                <a16:creationId xmlns:a16="http://schemas.microsoft.com/office/drawing/2014/main" id="{00B273D3-C416-46F9-E4EF-B7761D9BF30E}"/>
              </a:ext>
            </a:extLst>
          </p:cNvPr>
          <p:cNvGraphicFramePr>
            <a:graphicFrameLocks noGrp="1"/>
          </p:cNvGraphicFramePr>
          <p:nvPr/>
        </p:nvGraphicFramePr>
        <p:xfrm>
          <a:off x="10290848" y="2286673"/>
          <a:ext cx="1623975" cy="4116918"/>
        </p:xfrm>
        <a:graphic>
          <a:graphicData uri="http://schemas.openxmlformats.org/drawingml/2006/table">
            <a:tbl>
              <a:tblPr firstRow="1" firstCol="1" bandRow="1">
                <a:tableStyleId>{5940675A-B579-460E-94D1-54222C63F5DA}</a:tableStyleId>
              </a:tblPr>
              <a:tblGrid>
                <a:gridCol w="1623975">
                  <a:extLst>
                    <a:ext uri="{9D8B030D-6E8A-4147-A177-3AD203B41FA5}">
                      <a16:colId xmlns:a16="http://schemas.microsoft.com/office/drawing/2014/main" val="2563130822"/>
                    </a:ext>
                  </a:extLst>
                </a:gridCol>
              </a:tblGrid>
              <a:tr h="40599">
                <a:tc>
                  <a:txBody>
                    <a:bodyPr/>
                    <a:lstStyle/>
                    <a:p>
                      <a:pPr marL="0" marR="0" algn="l">
                        <a:lnSpc>
                          <a:spcPct val="105000"/>
                        </a:lnSpc>
                        <a:spcBef>
                          <a:spcPts val="0"/>
                        </a:spcBef>
                        <a:spcAft>
                          <a:spcPts val="0"/>
                        </a:spcAft>
                      </a:pPr>
                      <a:endParaRPr lang="en-US" sz="100" kern="1200">
                        <a:solidFill>
                          <a:schemeClr val="tx1"/>
                        </a:solidFill>
                        <a:latin typeface="+mn-lt"/>
                        <a:ea typeface="Open Sans Light" panose="020B0306030504020204" pitchFamily="34" charset="0"/>
                        <a:cs typeface="Open Sans Light" panose="020B030603050402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626172"/>
                  </a:ext>
                </a:extLst>
              </a:tr>
              <a:tr h="3941797">
                <a:tc>
                  <a:txBody>
                    <a:bodyPr/>
                    <a:lstStyle/>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panose="020F0502020204030204" pitchFamily="34" charset="0"/>
                          <a:ea typeface="Open Sans Light" panose="020B0306030504020204" pitchFamily="34" charset="0"/>
                          <a:cs typeface="Calibri" panose="020F0502020204030204" pitchFamily="34" charset="0"/>
                        </a:rPr>
                        <a:t>USDOT</a:t>
                      </a:r>
                      <a:endParaRPr lang="en-US" sz="1200" dirty="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000" dirty="0">
                          <a:solidFill>
                            <a:schemeClr val="tx1"/>
                          </a:solidFill>
                          <a:latin typeface="Calibri" panose="020F0502020204030204" pitchFamily="34" charset="0"/>
                          <a:ea typeface="Open Sans Light" panose="020B0306030504020204" pitchFamily="34" charset="0"/>
                          <a:cs typeface="Calibri" panose="020F0502020204030204" pitchFamily="34" charset="0"/>
                        </a:rPr>
                        <a:t>Support agency-wide priorities and metrics for covered program impacts, distributional equity, and overall effectiveness</a:t>
                      </a:r>
                    </a:p>
                    <a:p>
                      <a:pPr marL="0" indent="0">
                        <a:lnSpc>
                          <a:spcPct val="105000"/>
                        </a:lnSpc>
                        <a:spcBef>
                          <a:spcPts val="0"/>
                        </a:spcBef>
                        <a:spcAft>
                          <a:spcPts val="300"/>
                        </a:spcAft>
                        <a:buFont typeface="Arial" panose="020B0604020202020204" pitchFamily="34" charset="0"/>
                        <a:buNone/>
                      </a:pPr>
                      <a:endParaRPr lang="en-US" sz="900" dirty="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endParaRPr lang="en-US" sz="1200" b="1" dirty="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panose="020F0502020204030204" pitchFamily="34" charset="0"/>
                          <a:ea typeface="Open Sans Light" panose="020B0306030504020204" pitchFamily="34" charset="0"/>
                          <a:cs typeface="Calibri" panose="020F0502020204030204" pitchFamily="34" charset="0"/>
                        </a:rPr>
                        <a:t>Applicants</a:t>
                      </a:r>
                    </a:p>
                    <a:p>
                      <a:pPr marL="0" indent="0">
                        <a:lnSpc>
                          <a:spcPct val="105000"/>
                        </a:lnSpc>
                        <a:spcBef>
                          <a:spcPts val="0"/>
                        </a:spcBef>
                        <a:spcAft>
                          <a:spcPts val="300"/>
                        </a:spcAft>
                        <a:buFont typeface="Arial" panose="020B0604020202020204" pitchFamily="34" charset="0"/>
                        <a:buNone/>
                      </a:pPr>
                      <a:r>
                        <a:rPr lang="en-US" sz="1000" b="0" dirty="0">
                          <a:solidFill>
                            <a:schemeClr val="tx1"/>
                          </a:solidFill>
                          <a:latin typeface="Calibri" panose="020F0502020204030204" pitchFamily="34" charset="0"/>
                          <a:ea typeface="Open Sans Light" panose="020B0306030504020204" pitchFamily="34" charset="0"/>
                          <a:cs typeface="Calibri" panose="020F0502020204030204" pitchFamily="34" charset="0"/>
                        </a:rPr>
                        <a:t>Support program scope and application development based on transportation disadvantage insights about communities</a:t>
                      </a:r>
                    </a:p>
                    <a:p>
                      <a:pPr marL="0" indent="0">
                        <a:lnSpc>
                          <a:spcPct val="105000"/>
                        </a:lnSpc>
                        <a:spcBef>
                          <a:spcPts val="0"/>
                        </a:spcBef>
                        <a:spcAft>
                          <a:spcPts val="300"/>
                        </a:spcAft>
                        <a:buFont typeface="Arial" panose="020B0604020202020204" pitchFamily="34" charset="0"/>
                        <a:buNone/>
                      </a:pPr>
                      <a:endParaRPr lang="en-US" sz="900" b="0" dirty="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endParaRPr lang="en-US" sz="1200" b="1" dirty="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panose="020F0502020204030204" pitchFamily="34" charset="0"/>
                          <a:ea typeface="Open Sans Light" panose="020B0306030504020204" pitchFamily="34" charset="0"/>
                          <a:cs typeface="Calibri" panose="020F0502020204030204" pitchFamily="34" charset="0"/>
                        </a:rPr>
                        <a:t>State Planners/MPOs</a:t>
                      </a:r>
                    </a:p>
                    <a:p>
                      <a:pPr marL="0" indent="0">
                        <a:lnSpc>
                          <a:spcPct val="105000"/>
                        </a:lnSpc>
                        <a:spcBef>
                          <a:spcPts val="0"/>
                        </a:spcBef>
                        <a:spcAft>
                          <a:spcPts val="300"/>
                        </a:spcAft>
                        <a:buFont typeface="Arial" panose="020B0604020202020204" pitchFamily="34" charset="0"/>
                        <a:buNone/>
                      </a:pPr>
                      <a:r>
                        <a:rPr lang="en-US" sz="1000" b="0" dirty="0">
                          <a:solidFill>
                            <a:schemeClr val="tx1"/>
                          </a:solidFill>
                          <a:latin typeface="Calibri" panose="020F0502020204030204" pitchFamily="34" charset="0"/>
                          <a:ea typeface="Open Sans Light" panose="020B0306030504020204" pitchFamily="34" charset="0"/>
                          <a:cs typeface="Calibri" panose="020F0502020204030204" pitchFamily="34" charset="0"/>
                        </a:rPr>
                        <a:t>Und</a:t>
                      </a:r>
                      <a:r>
                        <a:rPr lang="en-US" sz="1000" dirty="0">
                          <a:solidFill>
                            <a:schemeClr val="tx1"/>
                          </a:solidFill>
                          <a:latin typeface="Calibri" panose="020F0502020204030204" pitchFamily="34" charset="0"/>
                          <a:ea typeface="Open Sans Light" panose="020B0306030504020204" pitchFamily="34" charset="0"/>
                          <a:cs typeface="Calibri" panose="020F0502020204030204" pitchFamily="34" charset="0"/>
                        </a:rPr>
                        <a:t>erstand localized impacts within immediate region to support funding decisions and provide visibility into community impact.</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5861613"/>
                  </a:ext>
                </a:extLst>
              </a:tr>
            </a:tbl>
          </a:graphicData>
        </a:graphic>
      </p:graphicFrame>
      <p:sp>
        <p:nvSpPr>
          <p:cNvPr id="38" name="TextBox 37">
            <a:extLst>
              <a:ext uri="{FF2B5EF4-FFF2-40B4-BE49-F238E27FC236}">
                <a16:creationId xmlns:a16="http://schemas.microsoft.com/office/drawing/2014/main" id="{5D1A48EC-0407-5986-BE7F-1DEA93097B87}"/>
              </a:ext>
            </a:extLst>
          </p:cNvPr>
          <p:cNvSpPr txBox="1"/>
          <p:nvPr/>
        </p:nvSpPr>
        <p:spPr>
          <a:xfrm>
            <a:off x="328895" y="904579"/>
            <a:ext cx="11525666" cy="552141"/>
          </a:xfrm>
          <a:prstGeom prst="rect">
            <a:avLst/>
          </a:prstGeom>
          <a:noFill/>
        </p:spPr>
        <p:txBody>
          <a:bodyPr wrap="square" lIns="0" tIns="0" rIns="0" bIns="0" rtlCol="0" anchor="t">
            <a:noAutofit/>
          </a:bodyPr>
          <a:lstStyle/>
          <a:p>
            <a:pPr>
              <a:lnSpc>
                <a:spcPct val="105000"/>
              </a:lnSpc>
              <a:spcAft>
                <a:spcPts val="300"/>
              </a:spcAft>
              <a:defRPr/>
            </a:pPr>
            <a:r>
              <a:rPr kumimoji="0" lang="en-US" sz="1600" b="1" i="0" u="none" strike="noStrike" kern="1200" cap="none" spc="100" normalizeH="0" baseline="0" noProof="0" dirty="0">
                <a:ln>
                  <a:noFill/>
                </a:ln>
                <a:solidFill>
                  <a:srgbClr val="53565A"/>
                </a:solidFill>
                <a:effectLst/>
                <a:uLnTx/>
                <a:uFillTx/>
                <a:latin typeface="Calibri Light"/>
                <a:ea typeface="Open Sans"/>
                <a:cs typeface="Calibri Light"/>
              </a:rPr>
              <a:t>OVERVIEW</a:t>
            </a:r>
            <a:r>
              <a:rPr kumimoji="0" lang="en-US" sz="1600" b="0" i="0" u="none" strike="noStrike" kern="1200" cap="none" spc="100" normalizeH="0" baseline="0" noProof="0" dirty="0">
                <a:ln>
                  <a:noFill/>
                </a:ln>
                <a:solidFill>
                  <a:prstClr val="black"/>
                </a:solidFill>
                <a:effectLst/>
                <a:uLnTx/>
                <a:uFillTx/>
                <a:latin typeface="Calibri Light"/>
                <a:ea typeface="Open Sans"/>
                <a:cs typeface="Calibri Light"/>
              </a:rPr>
              <a:t>: </a:t>
            </a:r>
            <a:r>
              <a:rPr kumimoji="0" lang="en-US" sz="1600" b="0" i="0" u="none" strike="noStrike" kern="1200" cap="none" spc="0" normalizeH="0" baseline="0" noProof="0" dirty="0">
                <a:ln>
                  <a:noFill/>
                </a:ln>
                <a:solidFill>
                  <a:prstClr val="black"/>
                </a:solidFill>
                <a:effectLst/>
                <a:uLnTx/>
                <a:uFillTx/>
                <a:latin typeface="Calibri"/>
                <a:ea typeface="Open Sans"/>
                <a:cs typeface="Calibri Light"/>
              </a:rPr>
              <a:t>USDOT creates the first-of-its-kind </a:t>
            </a:r>
            <a:r>
              <a:rPr kumimoji="0" lang="en-US" sz="1600" b="0" i="0" u="none" strike="noStrike" kern="1200" cap="none" spc="0" normalizeH="0" baseline="0" noProof="0" dirty="0">
                <a:ln>
                  <a:noFill/>
                </a:ln>
                <a:solidFill>
                  <a:prstClr val="black"/>
                </a:solidFill>
                <a:effectLst/>
                <a:uLnTx/>
                <a:uFillTx/>
                <a:latin typeface="Calibri"/>
                <a:ea typeface="Open Sans"/>
                <a:cs typeface="Open Sans"/>
              </a:rPr>
              <a:t>transportation-specific tool, harnessing the latest census tract data across federally available data sources to provide users a centralized, easy-to-use platform that creates visibility into drivers of transportation disadvantage.</a:t>
            </a:r>
            <a:r>
              <a:rPr lang="en-US" sz="1600" dirty="0">
                <a:solidFill>
                  <a:prstClr val="black"/>
                </a:solidFill>
                <a:latin typeface="Calibri"/>
                <a:ea typeface="Open Sans"/>
                <a:cs typeface="Open Sans"/>
              </a:rPr>
              <a:t> </a:t>
            </a:r>
            <a:endParaRPr kumimoji="0" lang="en-US" sz="1600" b="0" i="1" u="none" strike="noStrike" kern="1200" cap="none" spc="0" normalizeH="0" baseline="0" noProof="0" dirty="0">
              <a:ln>
                <a:noFill/>
              </a:ln>
              <a:solidFill>
                <a:prstClr val="black"/>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22072572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9FBDF-4A70-5844-C079-E1205622E1A3}"/>
              </a:ext>
            </a:extLst>
          </p:cNvPr>
          <p:cNvSpPr>
            <a:spLocks noGrp="1"/>
          </p:cNvSpPr>
          <p:nvPr>
            <p:ph type="title"/>
          </p:nvPr>
        </p:nvSpPr>
        <p:spPr/>
        <p:txBody>
          <a:bodyPr/>
          <a:lstStyle/>
          <a:p>
            <a:r>
              <a:rPr lang="en-US" sz="3200" dirty="0"/>
              <a:t>Rural &amp; Tribal Assistance Pilot Program</a:t>
            </a:r>
          </a:p>
        </p:txBody>
      </p:sp>
      <p:sp>
        <p:nvSpPr>
          <p:cNvPr id="4" name="Text Placeholder 3">
            <a:extLst>
              <a:ext uri="{FF2B5EF4-FFF2-40B4-BE49-F238E27FC236}">
                <a16:creationId xmlns:a16="http://schemas.microsoft.com/office/drawing/2014/main" id="{92BB2927-60D2-C20B-0C3B-B7024D03E965}"/>
              </a:ext>
            </a:extLst>
          </p:cNvPr>
          <p:cNvSpPr>
            <a:spLocks noGrp="1"/>
          </p:cNvSpPr>
          <p:nvPr>
            <p:ph sz="half" idx="1"/>
          </p:nvPr>
        </p:nvSpPr>
        <p:spPr>
          <a:xfrm>
            <a:off x="276225" y="1236188"/>
            <a:ext cx="2905125" cy="5382325"/>
          </a:xfrm>
        </p:spPr>
        <p:txBody>
          <a:bodyPr>
            <a:normAutofit/>
          </a:bodyPr>
          <a:lstStyle/>
          <a:p>
            <a:r>
              <a:rPr lang="en-US" sz="2000" dirty="0">
                <a:latin typeface="+mn-lt"/>
              </a:rPr>
              <a:t>New BIL technical assistance program for eligible entities to hire financial, technical, and legal advisors</a:t>
            </a:r>
          </a:p>
          <a:p>
            <a:r>
              <a:rPr lang="en-US" sz="2000" dirty="0">
                <a:latin typeface="+mn-lt"/>
              </a:rPr>
              <a:t>NOFO for FY22/23 - $3.4 million</a:t>
            </a:r>
          </a:p>
          <a:p>
            <a:pPr lvl="1"/>
            <a:r>
              <a:rPr lang="en-US" sz="1800" dirty="0">
                <a:latin typeface="+mn-lt"/>
              </a:rPr>
              <a:t>$1.6 million for tribal governments</a:t>
            </a:r>
          </a:p>
          <a:p>
            <a:r>
              <a:rPr lang="en-US" sz="2000" dirty="0">
                <a:latin typeface="+mn-lt"/>
              </a:rPr>
              <a:t>406 total applicants requesting $127 million</a:t>
            </a:r>
          </a:p>
          <a:p>
            <a:pPr lvl="1"/>
            <a:r>
              <a:rPr lang="en-US" sz="1800" dirty="0">
                <a:latin typeface="+mn-lt"/>
              </a:rPr>
              <a:t>70 from tribes, requesting $19 million</a:t>
            </a:r>
          </a:p>
          <a:p>
            <a:pPr lvl="1"/>
            <a:r>
              <a:rPr lang="en-US" sz="1800" dirty="0">
                <a:latin typeface="+mn-lt"/>
              </a:rPr>
              <a:t>Applications from 47 states and 3 territories</a:t>
            </a:r>
          </a:p>
        </p:txBody>
      </p:sp>
      <p:sp>
        <p:nvSpPr>
          <p:cNvPr id="3" name="Slide Number Placeholder 2">
            <a:extLst>
              <a:ext uri="{FF2B5EF4-FFF2-40B4-BE49-F238E27FC236}">
                <a16:creationId xmlns:a16="http://schemas.microsoft.com/office/drawing/2014/main" id="{30B4E9BC-5124-0905-E8C0-81DCE895875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36BDB8-E27B-402F-8C8D-B29426C82570}" type="slidenum">
              <a:rPr kumimoji="0" lang="en-US" sz="1200" b="0" i="0" u="none" strike="noStrike" kern="1200" cap="none" spc="0" normalizeH="0" baseline="0" noProof="0" smtClean="0">
                <a:ln>
                  <a:noFill/>
                </a:ln>
                <a:solidFill>
                  <a:srgbClr val="434343"/>
                </a:solidFill>
                <a:effectLst/>
                <a:uLnTx/>
                <a:uFillTx/>
                <a:latin typeface="Times" panose="02020603050405020304" pitchFamily="18" charset="0"/>
                <a:ea typeface="+mn-ea"/>
                <a:cs typeface="Times"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434343"/>
              </a:solidFill>
              <a:effectLst/>
              <a:uLnTx/>
              <a:uFillTx/>
              <a:latin typeface="Times" panose="02020603050405020304" pitchFamily="18" charset="0"/>
              <a:ea typeface="+mn-ea"/>
              <a:cs typeface="Times" panose="02020603050405020304" pitchFamily="18" charset="0"/>
            </a:endParaRPr>
          </a:p>
        </p:txBody>
      </p:sp>
      <p:pic>
        <p:nvPicPr>
          <p:cNvPr id="6" name="Picture 5" descr="Map&#10;&#10;Description automatically generated">
            <a:extLst>
              <a:ext uri="{FF2B5EF4-FFF2-40B4-BE49-F238E27FC236}">
                <a16:creationId xmlns:a16="http://schemas.microsoft.com/office/drawing/2014/main" id="{0DB19E22-51AA-801E-32E6-EDF94F170FAB}"/>
              </a:ext>
            </a:extLst>
          </p:cNvPr>
          <p:cNvPicPr>
            <a:picLocks noChangeAspect="1"/>
          </p:cNvPicPr>
          <p:nvPr/>
        </p:nvPicPr>
        <p:blipFill>
          <a:blip r:embed="rId3"/>
          <a:stretch>
            <a:fillRect/>
          </a:stretch>
        </p:blipFill>
        <p:spPr>
          <a:xfrm>
            <a:off x="3557448" y="1668576"/>
            <a:ext cx="8458706" cy="4296375"/>
          </a:xfrm>
          <a:prstGeom prst="rect">
            <a:avLst/>
          </a:prstGeom>
        </p:spPr>
      </p:pic>
      <p:pic>
        <p:nvPicPr>
          <p:cNvPr id="5" name="Picture 4">
            <a:extLst>
              <a:ext uri="{FF2B5EF4-FFF2-40B4-BE49-F238E27FC236}">
                <a16:creationId xmlns:a16="http://schemas.microsoft.com/office/drawing/2014/main" id="{3A953276-DD54-B327-9F29-E75D3C92C3D0}"/>
              </a:ext>
            </a:extLst>
          </p:cNvPr>
          <p:cNvPicPr>
            <a:picLocks noChangeAspect="1"/>
          </p:cNvPicPr>
          <p:nvPr/>
        </p:nvPicPr>
        <p:blipFill>
          <a:blip r:embed="rId4"/>
          <a:stretch>
            <a:fillRect/>
          </a:stretch>
        </p:blipFill>
        <p:spPr>
          <a:xfrm>
            <a:off x="11150843" y="-3664"/>
            <a:ext cx="1038959" cy="1050682"/>
          </a:xfrm>
          <a:prstGeom prst="rect">
            <a:avLst/>
          </a:prstGeom>
        </p:spPr>
      </p:pic>
    </p:spTree>
    <p:extLst>
      <p:ext uri="{BB962C8B-B14F-4D97-AF65-F5344CB8AC3E}">
        <p14:creationId xmlns:p14="http://schemas.microsoft.com/office/powerpoint/2010/main" val="11443293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3D012-0082-45EB-BA9D-94CC342EB935}"/>
              </a:ext>
            </a:extLst>
          </p:cNvPr>
          <p:cNvSpPr>
            <a:spLocks noGrp="1"/>
          </p:cNvSpPr>
          <p:nvPr>
            <p:ph type="title"/>
          </p:nvPr>
        </p:nvSpPr>
        <p:spPr/>
        <p:txBody>
          <a:bodyPr/>
          <a:lstStyle/>
          <a:p>
            <a:pPr>
              <a:lnSpc>
                <a:spcPct val="100000"/>
              </a:lnSpc>
            </a:pPr>
            <a:r>
              <a:rPr lang="en-US" sz="2800">
                <a:cs typeface="Times"/>
              </a:rPr>
              <a:t>Place-Based Interagency Activities</a:t>
            </a:r>
          </a:p>
        </p:txBody>
      </p:sp>
      <p:sp>
        <p:nvSpPr>
          <p:cNvPr id="4" name="Text Placeholder 3">
            <a:extLst>
              <a:ext uri="{FF2B5EF4-FFF2-40B4-BE49-F238E27FC236}">
                <a16:creationId xmlns:a16="http://schemas.microsoft.com/office/drawing/2014/main" id="{DED59E29-A91F-4BB9-A3F2-FFD7AB6EF307}"/>
              </a:ext>
            </a:extLst>
          </p:cNvPr>
          <p:cNvSpPr>
            <a:spLocks noGrp="1"/>
          </p:cNvSpPr>
          <p:nvPr>
            <p:ph type="body" sz="quarter" idx="11"/>
          </p:nvPr>
        </p:nvSpPr>
        <p:spPr>
          <a:xfrm>
            <a:off x="274385" y="949046"/>
            <a:ext cx="7342386" cy="5657253"/>
          </a:xfrm>
        </p:spPr>
        <p:txBody>
          <a:bodyPr vert="horz" lIns="91440" tIns="45720" rIns="91440" bIns="45720" rtlCol="0" anchor="t">
            <a:normAutofit/>
          </a:bodyPr>
          <a:lstStyle/>
          <a:p>
            <a:pPr marL="227965" indent="-227965">
              <a:defRPr/>
            </a:pPr>
            <a:r>
              <a:rPr lang="en-US" sz="2400" b="1">
                <a:latin typeface="Calibri" panose="020F0502020204030204"/>
                <a:cs typeface="Calibri"/>
              </a:rPr>
              <a:t>Rural Partners Networks </a:t>
            </a:r>
            <a:r>
              <a:rPr lang="en-US" sz="2400" i="1">
                <a:latin typeface="Calibri" panose="020F0502020204030204"/>
                <a:cs typeface="Calibri"/>
              </a:rPr>
              <a:t>(USDA)</a:t>
            </a:r>
            <a:endParaRPr lang="en-US" sz="2400">
              <a:latin typeface="Calibri"/>
              <a:ea typeface="+mj-lt"/>
              <a:cs typeface="+mj-lt"/>
            </a:endParaRPr>
          </a:p>
          <a:p>
            <a:pPr marL="685165" lvl="1" indent="-227965">
              <a:defRPr/>
            </a:pPr>
            <a:r>
              <a:rPr lang="en-US">
                <a:latin typeface="Calibri" panose="020F0502020204030204"/>
                <a:cs typeface="Calibri"/>
              </a:rPr>
              <a:t>All-of-government program that helps rural communities find resources and funding to create jobs, build infrastructure, and support long-term economic stability on their own terms</a:t>
            </a:r>
            <a:endParaRPr lang="en-US">
              <a:latin typeface="Calibri"/>
              <a:ea typeface="+mj-lt"/>
              <a:cs typeface="+mj-lt"/>
            </a:endParaRPr>
          </a:p>
          <a:p>
            <a:pPr marL="685165" lvl="1" indent="-227965">
              <a:defRPr/>
            </a:pPr>
            <a:r>
              <a:rPr lang="en-US">
                <a:latin typeface="Calibri"/>
                <a:ea typeface="+mj-lt"/>
                <a:cs typeface="+mj-lt"/>
              </a:rPr>
              <a:t>36 RPN community networks across 11 states/territories</a:t>
            </a:r>
          </a:p>
          <a:p>
            <a:pPr marL="685165" lvl="1" indent="-227965">
              <a:defRPr/>
            </a:pPr>
            <a:r>
              <a:rPr lang="en-US">
                <a:latin typeface="Calibri" panose="020F0502020204030204"/>
                <a:cs typeface="Calibri"/>
              </a:rPr>
              <a:t>More information here: </a:t>
            </a:r>
            <a:r>
              <a:rPr lang="en-US">
                <a:latin typeface="Calibri"/>
                <a:cs typeface="Calibri Light"/>
                <a:hlinkClick r:id="rId3"/>
              </a:rPr>
              <a:t>https://www.rural.gov/</a:t>
            </a:r>
            <a:endParaRPr lang="en-US">
              <a:latin typeface="Calibri"/>
            </a:endParaRPr>
          </a:p>
          <a:p>
            <a:pPr marL="227965" marR="0" lvl="0" indent="-227965" algn="l" defTabSz="914377">
              <a:lnSpc>
                <a:spcPct val="90000"/>
              </a:lnSpc>
              <a:spcBef>
                <a:spcPts val="1000"/>
              </a:spcBef>
              <a:spcAft>
                <a:spcPts val="0"/>
              </a:spcAft>
              <a:buClrTx/>
              <a:buSzTx/>
              <a:buFont typeface="Arial" panose="020B0604020202020204" pitchFamily="34" charset="0"/>
              <a:buChar char="•"/>
              <a:tabLst/>
              <a:defRPr/>
            </a:pPr>
            <a:r>
              <a:rPr kumimoji="0" lang="en-US" sz="2400" b="1" i="0" u="none" strike="noStrike" kern="1200" cap="none" spc="0" normalizeH="0" baseline="0" noProof="0">
                <a:ln>
                  <a:noFill/>
                </a:ln>
                <a:effectLst/>
                <a:uLnTx/>
                <a:uFillTx/>
                <a:latin typeface="Calibri" panose="020F0502020204030204"/>
                <a:ea typeface="+mn-ea"/>
                <a:cs typeface="Times"/>
              </a:rPr>
              <a:t>Energy </a:t>
            </a:r>
            <a:r>
              <a:rPr kumimoji="0" lang="en-US" sz="2400" b="1" u="none" strike="noStrike" kern="1200" cap="none" spc="0" normalizeH="0" baseline="0" noProof="0">
                <a:ln>
                  <a:noFill/>
                </a:ln>
                <a:effectLst/>
                <a:uLnTx/>
                <a:uFillTx/>
                <a:latin typeface="Calibri" panose="020F0502020204030204"/>
                <a:ea typeface="+mn-ea"/>
                <a:cs typeface="Times"/>
              </a:rPr>
              <a:t>Communities</a:t>
            </a:r>
            <a:r>
              <a:rPr kumimoji="0" lang="en-US" sz="2400" u="none" strike="noStrike" kern="1200" cap="none" spc="0" normalizeH="0" baseline="0" noProof="0">
                <a:ln>
                  <a:noFill/>
                </a:ln>
                <a:effectLst/>
                <a:uLnTx/>
                <a:uFillTx/>
                <a:latin typeface="Calibri" panose="020F0502020204030204"/>
                <a:ea typeface="+mn-ea"/>
                <a:cs typeface="Times"/>
              </a:rPr>
              <a:t> </a:t>
            </a:r>
            <a:r>
              <a:rPr kumimoji="0" lang="en-US" sz="2400" i="1" u="none" strike="noStrike" kern="1200" cap="none" spc="0" normalizeH="0" baseline="0" noProof="0">
                <a:ln>
                  <a:noFill/>
                </a:ln>
                <a:effectLst/>
                <a:uLnTx/>
                <a:uFillTx/>
                <a:latin typeface="Calibri" panose="020F0502020204030204"/>
                <a:ea typeface="+mn-ea"/>
                <a:cs typeface="Times"/>
              </a:rPr>
              <a:t>(DOE)</a:t>
            </a:r>
            <a:endParaRPr lang="en-US" sz="2400">
              <a:latin typeface="Calibri"/>
            </a:endParaRPr>
          </a:p>
          <a:p>
            <a:pPr marL="685165" marR="0" lvl="1" indent="-227965" algn="l" defTabSz="914377"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b="0" i="0" u="none" strike="noStrike" kern="1200" cap="none" spc="0" normalizeH="0" baseline="0" noProof="0">
                <a:ln>
                  <a:noFill/>
                </a:ln>
                <a:effectLst/>
                <a:uLnTx/>
                <a:uFillTx/>
                <a:latin typeface="Calibri" panose="020F0502020204030204"/>
                <a:ea typeface="+mn-ea"/>
                <a:cs typeface="Times"/>
              </a:rPr>
              <a:t>Interagency working group to help communities dependent on coal, oil, gas, and power plants revitalize their economies and support energy workers</a:t>
            </a:r>
            <a:endParaRPr lang="en-US" b="0" i="0" u="none" strike="noStrike" kern="1200" cap="none" spc="0" normalizeH="0" baseline="0" noProof="0">
              <a:ln>
                <a:noFill/>
              </a:ln>
              <a:effectLst/>
              <a:uLnTx/>
              <a:uFillTx/>
              <a:latin typeface="Calibri" panose="020F0502020204030204"/>
              <a:cs typeface="Times"/>
            </a:endParaRPr>
          </a:p>
          <a:p>
            <a:pPr marL="685165" lvl="1" indent="-227965">
              <a:defRPr/>
            </a:pPr>
            <a:r>
              <a:rPr lang="en-US">
                <a:latin typeface="Calibri" panose="020F0502020204030204"/>
                <a:cs typeface="Calibri"/>
              </a:rPr>
              <a:t>25 priority energy communities</a:t>
            </a:r>
            <a:endParaRPr lang="en-US">
              <a:latin typeface="Calibri"/>
              <a:ea typeface="+mj-lt"/>
              <a:cs typeface="+mj-lt"/>
            </a:endParaRPr>
          </a:p>
          <a:p>
            <a:pPr marL="685165" lvl="1" indent="-227965">
              <a:defRPr/>
            </a:pPr>
            <a:r>
              <a:rPr kumimoji="0" lang="en-US" b="0" i="0" u="none" strike="noStrike" kern="1200" cap="none" spc="0" normalizeH="0" baseline="0" noProof="0">
                <a:ln>
                  <a:noFill/>
                </a:ln>
                <a:effectLst/>
                <a:uLnTx/>
                <a:uFillTx/>
                <a:latin typeface="Calibri" panose="020F0502020204030204"/>
                <a:ea typeface="+mn-ea"/>
                <a:cs typeface="Times"/>
              </a:rPr>
              <a:t>More information here: </a:t>
            </a:r>
            <a:r>
              <a:rPr lang="en-US">
                <a:solidFill>
                  <a:srgbClr val="0070C0"/>
                </a:solidFill>
                <a:latin typeface="Calibri"/>
                <a:ea typeface="+mj-lt"/>
                <a:cs typeface="+mj-lt"/>
                <a:hlinkClick r:id="rId4">
                  <a:extLst>
                    <a:ext uri="{A12FA001-AC4F-418D-AE19-62706E023703}">
                      <ahyp:hlinkClr xmlns:ahyp="http://schemas.microsoft.com/office/drawing/2018/hyperlinkcolor" val="tx"/>
                    </a:ext>
                  </a:extLst>
                </a:hlinkClick>
              </a:rPr>
              <a:t>energycommunities.gov/</a:t>
            </a:r>
            <a:r>
              <a:rPr lang="en-US">
                <a:solidFill>
                  <a:srgbClr val="0070C0"/>
                </a:solidFill>
                <a:latin typeface="Calibri"/>
                <a:ea typeface="+mj-lt"/>
                <a:cs typeface="+mj-lt"/>
              </a:rPr>
              <a:t> </a:t>
            </a:r>
            <a:endParaRPr lang="en-US">
              <a:latin typeface="Calibri"/>
            </a:endParaRPr>
          </a:p>
          <a:p>
            <a:pPr marL="0" indent="0">
              <a:buNone/>
            </a:pPr>
            <a:endParaRPr lang="en-US" sz="1800" i="1">
              <a:latin typeface="Calibri"/>
              <a:cs typeface="Calibri"/>
            </a:endParaRPr>
          </a:p>
        </p:txBody>
      </p:sp>
      <p:pic>
        <p:nvPicPr>
          <p:cNvPr id="9" name="Picture 2">
            <a:extLst>
              <a:ext uri="{FF2B5EF4-FFF2-40B4-BE49-F238E27FC236}">
                <a16:creationId xmlns:a16="http://schemas.microsoft.com/office/drawing/2014/main" id="{4E6489FE-05B0-4AF1-9C40-08B16305F4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43248" y="3971501"/>
            <a:ext cx="4157987" cy="239300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6E96525A-2C5C-49C3-BBEF-00D1B9F176E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7872944" y="1083490"/>
            <a:ext cx="4017807" cy="2423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6277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4B4315A-2893-4659-B466-46D44B570A90}"/>
              </a:ext>
            </a:extLst>
          </p:cNvPr>
          <p:cNvSpPr txBox="1">
            <a:spLocks/>
          </p:cNvSpPr>
          <p:nvPr/>
        </p:nvSpPr>
        <p:spPr>
          <a:xfrm>
            <a:off x="962886" y="97972"/>
            <a:ext cx="11517543"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ea typeface="Verdana"/>
                <a:cs typeface="+mj-cs"/>
              </a:rPr>
              <a:t>Thriving Communities Program</a:t>
            </a:r>
          </a:p>
        </p:txBody>
      </p:sp>
      <p:sp>
        <p:nvSpPr>
          <p:cNvPr id="11" name="Content Placeholder 3">
            <a:extLst>
              <a:ext uri="{FF2B5EF4-FFF2-40B4-BE49-F238E27FC236}">
                <a16:creationId xmlns:a16="http://schemas.microsoft.com/office/drawing/2014/main" id="{18DB7ABC-11EE-4A87-AEF9-50B5D0BEF381}"/>
              </a:ext>
            </a:extLst>
          </p:cNvPr>
          <p:cNvSpPr txBox="1">
            <a:spLocks/>
          </p:cNvSpPr>
          <p:nvPr/>
        </p:nvSpPr>
        <p:spPr>
          <a:xfrm>
            <a:off x="241301" y="999527"/>
            <a:ext cx="8873558" cy="5803106"/>
          </a:xfrm>
          <a:prstGeom prst="rect">
            <a:avLst/>
          </a:prstGeom>
        </p:spPr>
        <p:txBody>
          <a:bodyPr vert="horz" lIns="0" tIns="0" rIns="0" bIns="0" rtlCol="0" anchor="t">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965" indent="-227965"/>
            <a:r>
              <a:rPr lang="en-US" sz="2000" dirty="0">
                <a:latin typeface="Segoe UI"/>
                <a:ea typeface="+mj-lt"/>
                <a:cs typeface="+mj-lt"/>
              </a:rPr>
              <a:t>The Thriving Communities Program (TCP) facilitates the planning and development of transportation and community revitalization activities.</a:t>
            </a:r>
          </a:p>
          <a:p>
            <a:pPr marL="0" indent="0">
              <a:buNone/>
            </a:pPr>
            <a:endParaRPr lang="en-US" sz="2000" dirty="0">
              <a:latin typeface="Segoe UI"/>
              <a:ea typeface="+mj-lt"/>
              <a:cs typeface="+mj-lt"/>
            </a:endParaRPr>
          </a:p>
          <a:p>
            <a:pPr marL="227965" indent="-227965"/>
            <a:r>
              <a:rPr lang="en-US" sz="2000" dirty="0">
                <a:latin typeface="Segoe UI"/>
                <a:ea typeface="+mj-lt"/>
                <a:cs typeface="+mj-lt"/>
              </a:rPr>
              <a:t>This support enables disadvantaged and under-resourced communities to access historic infrastructure funding. </a:t>
            </a:r>
            <a:endParaRPr lang="en-US"/>
          </a:p>
          <a:p>
            <a:pPr marL="685165" lvl="1" indent="-227965"/>
            <a:r>
              <a:rPr lang="en-US" sz="1800" dirty="0">
                <a:latin typeface="Segoe UI"/>
                <a:ea typeface="+mj-lt"/>
                <a:cs typeface="+mj-lt"/>
              </a:rPr>
              <a:t>Selected communities' infrastructure projects will increase mobility, reduce pollution, and expand affordable transportation options.</a:t>
            </a:r>
            <a:endParaRPr lang="en-US" sz="1800"/>
          </a:p>
          <a:p>
            <a:pPr marL="457200" lvl="1" indent="0">
              <a:buNone/>
            </a:pPr>
            <a:endParaRPr lang="en-US" sz="2000" dirty="0">
              <a:latin typeface="Segoe UI"/>
              <a:ea typeface="Source Sans Pro"/>
              <a:cs typeface="Calibri Light"/>
            </a:endParaRPr>
          </a:p>
          <a:p>
            <a:pPr marL="227965" indent="-227965"/>
            <a:r>
              <a:rPr lang="en-US" sz="2000" dirty="0">
                <a:latin typeface="Segoe UI"/>
                <a:ea typeface="Source Sans Pro"/>
                <a:cs typeface="Times"/>
              </a:rPr>
              <a:t>FY22 Selected TCP Awardees</a:t>
            </a:r>
          </a:p>
          <a:p>
            <a:pPr marL="685165" lvl="1" indent="-227965"/>
            <a:endParaRPr lang="en-US" sz="1800" dirty="0">
              <a:latin typeface="Segoe UI"/>
              <a:ea typeface="Source Sans Pro"/>
              <a:cs typeface="Calibri Light" panose="020F0302020204030204"/>
            </a:endParaRPr>
          </a:p>
          <a:p>
            <a:pPr marL="227965" indent="-227965"/>
            <a:r>
              <a:rPr lang="en-US" sz="2000" dirty="0">
                <a:latin typeface="Segoe UI"/>
                <a:ea typeface="Source Sans Pro"/>
                <a:cs typeface="Segoe UI"/>
              </a:rPr>
              <a:t>FY23 NOFO will be announced in the next few months.</a:t>
            </a:r>
            <a:endParaRPr lang="en-US" sz="2000" dirty="0">
              <a:ea typeface="+mj-lt"/>
              <a:cs typeface="+mj-lt"/>
            </a:endParaRPr>
          </a:p>
        </p:txBody>
      </p:sp>
      <p:pic>
        <p:nvPicPr>
          <p:cNvPr id="2" name="Picture 2">
            <a:extLst>
              <a:ext uri="{FF2B5EF4-FFF2-40B4-BE49-F238E27FC236}">
                <a16:creationId xmlns:a16="http://schemas.microsoft.com/office/drawing/2014/main" id="{C15CE2DC-7F7A-6DB0-09D5-056D4C4475BF}"/>
              </a:ext>
            </a:extLst>
          </p:cNvPr>
          <p:cNvPicPr>
            <a:picLocks noChangeAspect="1"/>
          </p:cNvPicPr>
          <p:nvPr/>
        </p:nvPicPr>
        <p:blipFill>
          <a:blip r:embed="rId3"/>
          <a:stretch>
            <a:fillRect/>
          </a:stretch>
        </p:blipFill>
        <p:spPr>
          <a:xfrm>
            <a:off x="9518502" y="676443"/>
            <a:ext cx="2566363" cy="6120062"/>
          </a:xfrm>
          <a:prstGeom prst="rect">
            <a:avLst/>
          </a:prstGeom>
        </p:spPr>
      </p:pic>
    </p:spTree>
    <p:extLst>
      <p:ext uri="{BB962C8B-B14F-4D97-AF65-F5344CB8AC3E}">
        <p14:creationId xmlns:p14="http://schemas.microsoft.com/office/powerpoint/2010/main" val="1083821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AFF1E4-CF5F-4C98-ACB4-A827F7E48960}"/>
              </a:ext>
            </a:extLst>
          </p:cNvPr>
          <p:cNvSpPr>
            <a:spLocks noGrp="1"/>
          </p:cNvSpPr>
          <p:nvPr>
            <p:ph type="title"/>
          </p:nvPr>
        </p:nvSpPr>
        <p:spPr>
          <a:xfrm>
            <a:off x="166135" y="2634192"/>
            <a:ext cx="7253840" cy="1325563"/>
          </a:xfrm>
        </p:spPr>
        <p:txBody>
          <a:bodyPr lIns="91440" tIns="45720" rIns="91440" bIns="45720" anchor="ctr"/>
          <a:lstStyle/>
          <a:p>
            <a:r>
              <a:rPr lang="en-US" sz="4000" dirty="0">
                <a:latin typeface="+mj-lt"/>
                <a:cs typeface="Times"/>
              </a:rPr>
              <a:t>Upcoming Rural Grant Opportunities in BIL </a:t>
            </a:r>
            <a:endParaRPr lang="en-US" sz="4000" dirty="0">
              <a:latin typeface="+mj-lt"/>
            </a:endParaRPr>
          </a:p>
        </p:txBody>
      </p:sp>
    </p:spTree>
    <p:extLst>
      <p:ext uri="{BB962C8B-B14F-4D97-AF65-F5344CB8AC3E}">
        <p14:creationId xmlns:p14="http://schemas.microsoft.com/office/powerpoint/2010/main" val="2292302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04135-7FCA-4A61-9D70-6ACDA7976E9A}"/>
              </a:ext>
            </a:extLst>
          </p:cNvPr>
          <p:cNvSpPr>
            <a:spLocks noGrp="1"/>
          </p:cNvSpPr>
          <p:nvPr>
            <p:ph type="title"/>
          </p:nvPr>
        </p:nvSpPr>
        <p:spPr/>
        <p:txBody>
          <a:bodyPr/>
          <a:lstStyle/>
          <a:p>
            <a:pPr>
              <a:lnSpc>
                <a:spcPct val="100000"/>
              </a:lnSpc>
            </a:pPr>
            <a:r>
              <a:rPr lang="en-US" sz="2800"/>
              <a:t>BIL Overview for Rural America</a:t>
            </a:r>
          </a:p>
        </p:txBody>
      </p:sp>
      <p:sp>
        <p:nvSpPr>
          <p:cNvPr id="4" name="Text Placeholder 3">
            <a:extLst>
              <a:ext uri="{FF2B5EF4-FFF2-40B4-BE49-F238E27FC236}">
                <a16:creationId xmlns:a16="http://schemas.microsoft.com/office/drawing/2014/main" id="{24B2213E-533C-4C00-B98B-8FE6FD61AB1E}"/>
              </a:ext>
            </a:extLst>
          </p:cNvPr>
          <p:cNvSpPr>
            <a:spLocks noGrp="1"/>
          </p:cNvSpPr>
          <p:nvPr>
            <p:ph type="body" sz="quarter" idx="11"/>
          </p:nvPr>
        </p:nvSpPr>
        <p:spPr/>
        <p:txBody>
          <a:bodyPr>
            <a:normAutofit/>
          </a:bodyPr>
          <a:lstStyle/>
          <a:p>
            <a:r>
              <a:rPr lang="en-US">
                <a:latin typeface="+mn-lt"/>
                <a:cs typeface="Segoe UI" panose="020B0502040204020203" pitchFamily="34" charset="0"/>
              </a:rPr>
              <a:t>More than $44 Billion over the next 5 years for rural transportation infrastructure</a:t>
            </a:r>
          </a:p>
          <a:p>
            <a:pPr lvl="1">
              <a:buFont typeface="Wingdings" panose="05000000000000000000" pitchFamily="2" charset="2"/>
              <a:buChar char="§"/>
            </a:pPr>
            <a:r>
              <a:rPr lang="en-US">
                <a:latin typeface="+mn-lt"/>
                <a:cs typeface="Segoe UI" panose="020B0502040204020203" pitchFamily="34" charset="0"/>
              </a:rPr>
              <a:t>New rural-specific programs (including Rural Surface Transportation Grant Program and the Rural &amp; Tribal Assistance Program)</a:t>
            </a:r>
          </a:p>
          <a:p>
            <a:pPr lvl="1">
              <a:buFont typeface="Wingdings" panose="05000000000000000000" pitchFamily="2" charset="2"/>
              <a:buChar char="§"/>
            </a:pPr>
            <a:r>
              <a:rPr lang="en-US">
                <a:latin typeface="+mn-lt"/>
                <a:cs typeface="Segoe UI" panose="020B0502040204020203" pitchFamily="34" charset="0"/>
              </a:rPr>
              <a:t>Increased funding for programs with rural set-asides (including RAISE and INFRA)</a:t>
            </a:r>
          </a:p>
          <a:p>
            <a:r>
              <a:rPr lang="en-US">
                <a:latin typeface="+mn-lt"/>
                <a:cs typeface="Segoe UI" panose="020B0502040204020203" pitchFamily="34" charset="0"/>
              </a:rPr>
              <a:t>Codifies ROUTES Initiative and ROUTES Council</a:t>
            </a:r>
          </a:p>
          <a:p>
            <a:r>
              <a:rPr lang="en-US">
                <a:latin typeface="+mn-lt"/>
                <a:cs typeface="Segoe UI" panose="020B0502040204020203" pitchFamily="34" charset="0"/>
              </a:rPr>
              <a:t>BIL resources</a:t>
            </a:r>
          </a:p>
          <a:p>
            <a:pPr lvl="1">
              <a:buFont typeface="Wingdings" panose="05000000000000000000" pitchFamily="2" charset="2"/>
              <a:buChar char="§"/>
            </a:pPr>
            <a:r>
              <a:rPr lang="en-US">
                <a:latin typeface="+mn-lt"/>
                <a:cs typeface="Segoe UI" panose="020B0502040204020203" pitchFamily="34" charset="0"/>
              </a:rPr>
              <a:t>White House </a:t>
            </a:r>
            <a:r>
              <a:rPr lang="en-US">
                <a:solidFill>
                  <a:schemeClr val="accent3"/>
                </a:solidFill>
                <a:latin typeface="+mn-lt"/>
                <a:cs typeface="Segoe UI" panose="020B0502040204020203" pitchFamily="34" charset="0"/>
                <a:hlinkClick r:id="rId3">
                  <a:extLst>
                    <a:ext uri="{A12FA001-AC4F-418D-AE19-62706E023703}">
                      <ahyp:hlinkClr xmlns:ahyp="http://schemas.microsoft.com/office/drawing/2018/hyperlinkcolor" val="tx"/>
                    </a:ext>
                  </a:extLst>
                </a:hlinkClick>
              </a:rPr>
              <a:t>Bipartisan Infrastructure Law Playbook</a:t>
            </a:r>
            <a:endParaRPr lang="en-US">
              <a:solidFill>
                <a:schemeClr val="accent3"/>
              </a:solidFill>
              <a:latin typeface="+mn-lt"/>
              <a:cs typeface="Segoe UI" panose="020B0502040204020203" pitchFamily="34" charset="0"/>
            </a:endParaRPr>
          </a:p>
          <a:p>
            <a:pPr lvl="1">
              <a:buFont typeface="Wingdings" panose="05000000000000000000" pitchFamily="2" charset="2"/>
              <a:buChar char="§"/>
            </a:pPr>
            <a:r>
              <a:rPr lang="en-US">
                <a:latin typeface="+mn-lt"/>
                <a:cs typeface="Segoe UI" panose="020B0502040204020203" pitchFamily="34" charset="0"/>
              </a:rPr>
              <a:t>White House </a:t>
            </a:r>
            <a:r>
              <a:rPr lang="en-US">
                <a:solidFill>
                  <a:schemeClr val="accent3"/>
                </a:solidFill>
                <a:latin typeface="+mn-lt"/>
                <a:cs typeface="Segoe UI" panose="020B0502040204020203" pitchFamily="34" charset="0"/>
                <a:hlinkClick r:id="rId4">
                  <a:extLst>
                    <a:ext uri="{A12FA001-AC4F-418D-AE19-62706E023703}">
                      <ahyp:hlinkClr xmlns:ahyp="http://schemas.microsoft.com/office/drawing/2018/hyperlinkcolor" val="tx"/>
                    </a:ext>
                  </a:extLst>
                </a:hlinkClick>
              </a:rPr>
              <a:t>Bipartisan Infrastructure Law Rural Playbook</a:t>
            </a:r>
            <a:endParaRPr lang="en-US">
              <a:solidFill>
                <a:schemeClr val="accent3"/>
              </a:solidFill>
              <a:latin typeface="+mn-lt"/>
              <a:cs typeface="Segoe UI" panose="020B0502040204020203" pitchFamily="34" charset="0"/>
            </a:endParaRPr>
          </a:p>
          <a:p>
            <a:pPr lvl="1">
              <a:buFont typeface="Wingdings" panose="05000000000000000000" pitchFamily="2" charset="2"/>
              <a:buChar char="§"/>
            </a:pPr>
            <a:r>
              <a:rPr lang="en-US">
                <a:latin typeface="+mn-lt"/>
                <a:cs typeface="Segoe UI" panose="020B0502040204020203" pitchFamily="34" charset="0"/>
              </a:rPr>
              <a:t>DOT </a:t>
            </a:r>
            <a:r>
              <a:rPr lang="en-US">
                <a:solidFill>
                  <a:schemeClr val="accent3"/>
                </a:solidFill>
                <a:latin typeface="+mn-lt"/>
                <a:cs typeface="Segoe UI" panose="020B0502040204020203" pitchFamily="34" charset="0"/>
                <a:hlinkClick r:id="rId5">
                  <a:extLst>
                    <a:ext uri="{A12FA001-AC4F-418D-AE19-62706E023703}">
                      <ahyp:hlinkClr xmlns:ahyp="http://schemas.microsoft.com/office/drawing/2018/hyperlinkcolor" val="tx"/>
                    </a:ext>
                  </a:extLst>
                </a:hlinkClick>
              </a:rPr>
              <a:t>Bipartisan Infrastructure Law Hub</a:t>
            </a:r>
            <a:endParaRPr lang="en-US">
              <a:solidFill>
                <a:schemeClr val="accent3"/>
              </a:solidFill>
              <a:latin typeface="+mn-lt"/>
              <a:cs typeface="Segoe UI" panose="020B0502040204020203" pitchFamily="34" charset="0"/>
            </a:endParaRPr>
          </a:p>
          <a:p>
            <a:pPr lvl="1">
              <a:buFont typeface="Wingdings" panose="05000000000000000000" pitchFamily="2" charset="2"/>
              <a:buChar char="§"/>
            </a:pPr>
            <a:r>
              <a:rPr lang="en-US">
                <a:latin typeface="+mn-lt"/>
                <a:cs typeface="Segoe UI" panose="020B0502040204020203" pitchFamily="34" charset="0"/>
              </a:rPr>
              <a:t>DOT </a:t>
            </a:r>
            <a:r>
              <a:rPr lang="en-US">
                <a:solidFill>
                  <a:schemeClr val="accent3"/>
                </a:solidFill>
                <a:latin typeface="+mn-lt"/>
                <a:cs typeface="Segoe UI" panose="020B0502040204020203" pitchFamily="34" charset="0"/>
                <a:hlinkClick r:id="rId6">
                  <a:extLst>
                    <a:ext uri="{A12FA001-AC4F-418D-AE19-62706E023703}">
                      <ahyp:hlinkClr xmlns:ahyp="http://schemas.microsoft.com/office/drawing/2018/hyperlinkcolor" val="tx"/>
                    </a:ext>
                  </a:extLst>
                </a:hlinkClick>
              </a:rPr>
              <a:t>Fact Sheet for Rural Communities</a:t>
            </a:r>
            <a:endParaRPr lang="en-US">
              <a:solidFill>
                <a:schemeClr val="accent3"/>
              </a:solidFill>
              <a:latin typeface="+mn-lt"/>
              <a:cs typeface="Segoe UI" panose="020B0502040204020203" pitchFamily="34" charset="0"/>
            </a:endParaRPr>
          </a:p>
          <a:p>
            <a:pPr marL="0" indent="0">
              <a:buNone/>
            </a:pPr>
            <a:endParaRPr lang="en-US"/>
          </a:p>
        </p:txBody>
      </p:sp>
    </p:spTree>
    <p:extLst>
      <p:ext uri="{BB962C8B-B14F-4D97-AF65-F5344CB8AC3E}">
        <p14:creationId xmlns:p14="http://schemas.microsoft.com/office/powerpoint/2010/main" val="3039798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2CA76-8C04-0B9B-0E67-67F4936AFD5B}"/>
              </a:ext>
            </a:extLst>
          </p:cNvPr>
          <p:cNvSpPr>
            <a:spLocks noGrp="1"/>
          </p:cNvSpPr>
          <p:nvPr>
            <p:ph type="title"/>
          </p:nvPr>
        </p:nvSpPr>
        <p:spPr/>
        <p:txBody>
          <a:bodyPr/>
          <a:lstStyle/>
          <a:p>
            <a:r>
              <a:rPr lang="en-US" sz="3600" dirty="0">
                <a:cs typeface="Times"/>
              </a:rPr>
              <a:t>MPDG Program Grants</a:t>
            </a:r>
            <a:endParaRPr lang="en-US" dirty="0"/>
          </a:p>
        </p:txBody>
      </p:sp>
      <p:sp>
        <p:nvSpPr>
          <p:cNvPr id="4" name="Text Placeholder 3">
            <a:extLst>
              <a:ext uri="{FF2B5EF4-FFF2-40B4-BE49-F238E27FC236}">
                <a16:creationId xmlns:a16="http://schemas.microsoft.com/office/drawing/2014/main" id="{1DAAAC90-1EBE-9763-E27D-4AC2D90F77A3}"/>
              </a:ext>
            </a:extLst>
          </p:cNvPr>
          <p:cNvSpPr>
            <a:spLocks noGrp="1"/>
          </p:cNvSpPr>
          <p:nvPr>
            <p:ph type="body" sz="quarter" idx="11"/>
          </p:nvPr>
        </p:nvSpPr>
        <p:spPr>
          <a:xfrm>
            <a:off x="471639" y="965200"/>
            <a:ext cx="11069052" cy="4927600"/>
          </a:xfrm>
        </p:spPr>
        <p:txBody>
          <a:bodyPr/>
          <a:lstStyle/>
          <a:p>
            <a:r>
              <a:rPr lang="en-US" dirty="0"/>
              <a:t>3 programs combined into 1 NOFO under Multimodal Project Discretionary Grant (MPDG) program</a:t>
            </a:r>
          </a:p>
          <a:p>
            <a:r>
              <a:rPr lang="en-US" dirty="0"/>
              <a:t>FY23 &amp; FY24 NOFO closed August 21, FY25 NOFO expected summer 2024</a:t>
            </a:r>
          </a:p>
          <a:p>
            <a:pPr lvl="1"/>
            <a:endParaRPr lang="en-US" dirty="0"/>
          </a:p>
        </p:txBody>
      </p:sp>
      <p:sp>
        <p:nvSpPr>
          <p:cNvPr id="3" name="Slide Number Placeholder 2">
            <a:extLst>
              <a:ext uri="{FF2B5EF4-FFF2-40B4-BE49-F238E27FC236}">
                <a16:creationId xmlns:a16="http://schemas.microsoft.com/office/drawing/2014/main" id="{88EF28CB-6468-3033-6D2B-27BFE3CC490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36BDB8-E27B-402F-8C8D-B29426C82570}" type="slidenum">
              <a:rPr kumimoji="0" lang="en-US" sz="1200" b="0" i="0" u="none" strike="noStrike" kern="1200" cap="none" spc="0" normalizeH="0" baseline="0" noProof="0" smtClean="0">
                <a:ln>
                  <a:noFill/>
                </a:ln>
                <a:solidFill>
                  <a:srgbClr val="434343"/>
                </a:solidFill>
                <a:effectLst/>
                <a:uLnTx/>
                <a:uFillTx/>
                <a:latin typeface="Times" panose="02020603050405020304" pitchFamily="18" charset="0"/>
                <a:ea typeface="+mn-ea"/>
                <a:cs typeface="Times"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434343"/>
              </a:solidFill>
              <a:effectLst/>
              <a:uLnTx/>
              <a:uFillTx/>
              <a:latin typeface="Times" panose="02020603050405020304" pitchFamily="18" charset="0"/>
              <a:ea typeface="+mn-ea"/>
              <a:cs typeface="Times" panose="02020603050405020304" pitchFamily="18" charset="0"/>
            </a:endParaRPr>
          </a:p>
        </p:txBody>
      </p:sp>
      <p:graphicFrame>
        <p:nvGraphicFramePr>
          <p:cNvPr id="5" name="Table 5">
            <a:extLst>
              <a:ext uri="{FF2B5EF4-FFF2-40B4-BE49-F238E27FC236}">
                <a16:creationId xmlns:a16="http://schemas.microsoft.com/office/drawing/2014/main" id="{235400D0-5EFA-845D-BCC6-09E4915DD813}"/>
              </a:ext>
            </a:extLst>
          </p:cNvPr>
          <p:cNvGraphicFramePr>
            <a:graphicFrameLocks noGrp="1"/>
          </p:cNvGraphicFramePr>
          <p:nvPr/>
        </p:nvGraphicFramePr>
        <p:xfrm>
          <a:off x="732590" y="2498316"/>
          <a:ext cx="10515600" cy="4302760"/>
        </p:xfrm>
        <a:graphic>
          <a:graphicData uri="http://schemas.openxmlformats.org/drawingml/2006/table">
            <a:tbl>
              <a:tblPr firstRow="1" bandRow="1">
                <a:tableStyleId>{5C22544A-7EE6-4342-B048-85BDC9FD1C3A}</a:tableStyleId>
              </a:tblPr>
              <a:tblGrid>
                <a:gridCol w="1943232">
                  <a:extLst>
                    <a:ext uri="{9D8B030D-6E8A-4147-A177-3AD203B41FA5}">
                      <a16:colId xmlns:a16="http://schemas.microsoft.com/office/drawing/2014/main" val="1813585816"/>
                    </a:ext>
                  </a:extLst>
                </a:gridCol>
                <a:gridCol w="3994485">
                  <a:extLst>
                    <a:ext uri="{9D8B030D-6E8A-4147-A177-3AD203B41FA5}">
                      <a16:colId xmlns:a16="http://schemas.microsoft.com/office/drawing/2014/main" val="3457863575"/>
                    </a:ext>
                  </a:extLst>
                </a:gridCol>
                <a:gridCol w="2454441">
                  <a:extLst>
                    <a:ext uri="{9D8B030D-6E8A-4147-A177-3AD203B41FA5}">
                      <a16:colId xmlns:a16="http://schemas.microsoft.com/office/drawing/2014/main" val="3608266191"/>
                    </a:ext>
                  </a:extLst>
                </a:gridCol>
                <a:gridCol w="2123442">
                  <a:extLst>
                    <a:ext uri="{9D8B030D-6E8A-4147-A177-3AD203B41FA5}">
                      <a16:colId xmlns:a16="http://schemas.microsoft.com/office/drawing/2014/main" val="2985314565"/>
                    </a:ext>
                  </a:extLst>
                </a:gridCol>
              </a:tblGrid>
              <a:tr h="370840">
                <a:tc>
                  <a:txBody>
                    <a:bodyPr/>
                    <a:lstStyle/>
                    <a:p>
                      <a:r>
                        <a:rPr lang="en-US" sz="1600" dirty="0"/>
                        <a:t>Program</a:t>
                      </a:r>
                    </a:p>
                  </a:txBody>
                  <a:tcPr/>
                </a:tc>
                <a:tc>
                  <a:txBody>
                    <a:bodyPr/>
                    <a:lstStyle/>
                    <a:p>
                      <a:r>
                        <a:rPr lang="en-US" sz="1600" dirty="0"/>
                        <a:t>Description</a:t>
                      </a:r>
                    </a:p>
                  </a:txBody>
                  <a:tcPr/>
                </a:tc>
                <a:tc>
                  <a:txBody>
                    <a:bodyPr/>
                    <a:lstStyle/>
                    <a:p>
                      <a:r>
                        <a:rPr lang="en-US" sz="1600" dirty="0"/>
                        <a:t>Additional Considerations</a:t>
                      </a:r>
                    </a:p>
                  </a:txBody>
                  <a:tcPr/>
                </a:tc>
                <a:tc>
                  <a:txBody>
                    <a:bodyPr/>
                    <a:lstStyle/>
                    <a:p>
                      <a:r>
                        <a:rPr lang="en-US" sz="1600" dirty="0"/>
                        <a:t>FY23 &amp; FY24 Funding</a:t>
                      </a:r>
                    </a:p>
                  </a:txBody>
                  <a:tcPr/>
                </a:tc>
                <a:extLst>
                  <a:ext uri="{0D108BD9-81ED-4DB2-BD59-A6C34878D82A}">
                    <a16:rowId xmlns:a16="http://schemas.microsoft.com/office/drawing/2014/main" val="364567895"/>
                  </a:ext>
                </a:extLst>
              </a:tr>
              <a:tr h="370840">
                <a:tc>
                  <a:txBody>
                    <a:bodyPr/>
                    <a:lstStyle/>
                    <a:p>
                      <a:r>
                        <a:rPr lang="en-US" sz="1600" b="1" i="0" kern="1200" dirty="0">
                          <a:solidFill>
                            <a:schemeClr val="dk1"/>
                          </a:solidFill>
                          <a:effectLst/>
                          <a:latin typeface="+mn-lt"/>
                          <a:ea typeface="+mn-ea"/>
                          <a:cs typeface="+mn-cs"/>
                        </a:rPr>
                        <a:t>Infrastructure for Rebuilding America (</a:t>
                      </a:r>
                      <a:r>
                        <a:rPr lang="en-US" sz="1600" b="1" i="0" u="sng" kern="1200" dirty="0">
                          <a:solidFill>
                            <a:schemeClr val="dk1"/>
                          </a:solidFill>
                          <a:effectLst/>
                          <a:latin typeface="+mn-lt"/>
                          <a:ea typeface="+mn-ea"/>
                          <a:cs typeface="+mn-cs"/>
                          <a:hlinkClick r:id="rId2"/>
                        </a:rPr>
                        <a:t>INFRA</a:t>
                      </a:r>
                      <a:r>
                        <a:rPr lang="en-US" sz="1600" b="1" i="0" kern="1200" dirty="0">
                          <a:solidFill>
                            <a:schemeClr val="dk1"/>
                          </a:solidFill>
                          <a:effectLst/>
                          <a:latin typeface="+mn-lt"/>
                          <a:ea typeface="+mn-ea"/>
                          <a:cs typeface="+mn-cs"/>
                        </a:rPr>
                        <a:t>)</a:t>
                      </a:r>
                      <a:endParaRPr lang="en-US" sz="1600" dirty="0"/>
                    </a:p>
                  </a:txBody>
                  <a:tcPr/>
                </a:tc>
                <a:tc>
                  <a:txBody>
                    <a:bodyPr/>
                    <a:lstStyle/>
                    <a:p>
                      <a:r>
                        <a:rPr lang="en-US" sz="1600" dirty="0"/>
                        <a:t>Supports multimodal freight and highway projects of national/regional significance to improve the safety, efficiency, and reliability of the movement of freight and people across rural and urban areas</a:t>
                      </a:r>
                    </a:p>
                  </a:txBody>
                  <a:tcPr/>
                </a:tc>
                <a:tc>
                  <a:txBody>
                    <a:bodyPr/>
                    <a:lstStyle/>
                    <a:p>
                      <a:r>
                        <a:rPr lang="en-US" sz="1600" dirty="0"/>
                        <a:t>25% of large (grants &gt; $25 Million) grants &amp; 30% of small (&lt; $25 Million) grants for projects in rural areas</a:t>
                      </a:r>
                    </a:p>
                  </a:txBody>
                  <a:tcPr/>
                </a:tc>
                <a:tc>
                  <a:txBody>
                    <a:bodyPr/>
                    <a:lstStyle/>
                    <a:p>
                      <a:r>
                        <a:rPr lang="en-US" sz="1600" dirty="0"/>
                        <a:t>$3.1 Billion</a:t>
                      </a:r>
                    </a:p>
                  </a:txBody>
                  <a:tcPr/>
                </a:tc>
                <a:extLst>
                  <a:ext uri="{0D108BD9-81ED-4DB2-BD59-A6C34878D82A}">
                    <a16:rowId xmlns:a16="http://schemas.microsoft.com/office/drawing/2014/main" val="1638029973"/>
                  </a:ext>
                </a:extLst>
              </a:tr>
              <a:tr h="370840">
                <a:tc>
                  <a:txBody>
                    <a:bodyPr/>
                    <a:lstStyle/>
                    <a:p>
                      <a:r>
                        <a:rPr lang="fr-FR" sz="1600" b="1" i="0" kern="1200" dirty="0">
                          <a:solidFill>
                            <a:schemeClr val="dk1"/>
                          </a:solidFill>
                          <a:effectLst/>
                          <a:latin typeface="+mn-lt"/>
                          <a:ea typeface="+mn-ea"/>
                          <a:cs typeface="+mn-cs"/>
                        </a:rPr>
                        <a:t>National Infrastructure Project Assistance (</a:t>
                      </a:r>
                      <a:r>
                        <a:rPr lang="fr-FR" sz="1600" b="1" i="0" u="sng" kern="1200" dirty="0" err="1">
                          <a:solidFill>
                            <a:schemeClr val="dk1"/>
                          </a:solidFill>
                          <a:effectLst/>
                          <a:latin typeface="+mn-lt"/>
                          <a:ea typeface="+mn-ea"/>
                          <a:cs typeface="+mn-cs"/>
                          <a:hlinkClick r:id="rId3"/>
                        </a:rPr>
                        <a:t>Mega</a:t>
                      </a:r>
                      <a:r>
                        <a:rPr lang="fr-FR" sz="1600" b="1" i="0" kern="1200" dirty="0">
                          <a:solidFill>
                            <a:schemeClr val="dk1"/>
                          </a:solidFill>
                          <a:effectLst/>
                          <a:latin typeface="+mn-lt"/>
                          <a:ea typeface="+mn-ea"/>
                          <a:cs typeface="+mn-cs"/>
                        </a:rPr>
                        <a:t>)</a:t>
                      </a:r>
                      <a:endParaRPr lang="en-US" sz="1600" dirty="0"/>
                    </a:p>
                  </a:txBody>
                  <a:tcPr/>
                </a:tc>
                <a:tc>
                  <a:txBody>
                    <a:bodyPr/>
                    <a:lstStyle/>
                    <a:p>
                      <a:r>
                        <a:rPr lang="en-US" sz="1600" dirty="0"/>
                        <a:t>Supports large, complex projects that are difficult to fund by other means and likely to generate national/regional economic, mobility, or safety benefits</a:t>
                      </a:r>
                    </a:p>
                  </a:txBody>
                  <a:tcPr/>
                </a:tc>
                <a:tc>
                  <a:txBody>
                    <a:bodyPr/>
                    <a:lstStyle/>
                    <a:p>
                      <a:r>
                        <a:rPr lang="en-US" sz="1600" dirty="0"/>
                        <a:t>50% of funds set-aside for projects &gt; $500 million</a:t>
                      </a:r>
                    </a:p>
                  </a:txBody>
                  <a:tcPr/>
                </a:tc>
                <a:tc>
                  <a:txBody>
                    <a:bodyPr/>
                    <a:lstStyle/>
                    <a:p>
                      <a:r>
                        <a:rPr lang="en-US" sz="1600" dirty="0"/>
                        <a:t>$1.8 Billion</a:t>
                      </a:r>
                    </a:p>
                  </a:txBody>
                  <a:tcPr/>
                </a:tc>
                <a:extLst>
                  <a:ext uri="{0D108BD9-81ED-4DB2-BD59-A6C34878D82A}">
                    <a16:rowId xmlns:a16="http://schemas.microsoft.com/office/drawing/2014/main" val="1759172745"/>
                  </a:ext>
                </a:extLst>
              </a:tr>
              <a:tr h="370840">
                <a:tc>
                  <a:txBody>
                    <a:bodyPr/>
                    <a:lstStyle/>
                    <a:p>
                      <a:r>
                        <a:rPr lang="en-US" sz="1600" b="1" i="0" kern="1200" dirty="0">
                          <a:solidFill>
                            <a:schemeClr val="dk1"/>
                          </a:solidFill>
                          <a:effectLst/>
                          <a:latin typeface="+mn-lt"/>
                          <a:ea typeface="+mn-ea"/>
                          <a:cs typeface="+mn-cs"/>
                        </a:rPr>
                        <a:t>Rural Surface Transportation Grant (</a:t>
                      </a:r>
                      <a:r>
                        <a:rPr lang="en-US" sz="1600" b="1" i="0" u="sng" kern="1200" dirty="0">
                          <a:solidFill>
                            <a:schemeClr val="dk1"/>
                          </a:solidFill>
                          <a:effectLst/>
                          <a:latin typeface="+mn-lt"/>
                          <a:ea typeface="+mn-ea"/>
                          <a:cs typeface="+mn-cs"/>
                          <a:hlinkClick r:id="rId4"/>
                        </a:rPr>
                        <a:t>Rural</a:t>
                      </a:r>
                      <a:r>
                        <a:rPr lang="en-US" sz="1600" b="1" i="0" kern="1200" dirty="0">
                          <a:solidFill>
                            <a:schemeClr val="dk1"/>
                          </a:solidFill>
                          <a:effectLst/>
                          <a:latin typeface="+mn-lt"/>
                          <a:ea typeface="+mn-ea"/>
                          <a:cs typeface="+mn-cs"/>
                        </a:rPr>
                        <a:t>)</a:t>
                      </a:r>
                      <a:endParaRPr lang="en-US" sz="1600" dirty="0"/>
                    </a:p>
                  </a:txBody>
                  <a:tcPr/>
                </a:tc>
                <a:tc>
                  <a:txBody>
                    <a:bodyPr/>
                    <a:lstStyle/>
                    <a:p>
                      <a:r>
                        <a:rPr lang="en-US" sz="1600" dirty="0"/>
                        <a:t>Supports projects to improve and expand the surface transportation infrastructure in rural areas to increase connectivity, improve the safety and reliability of the movement of people and freight, and generate regional economic growth and improve quality of life</a:t>
                      </a:r>
                    </a:p>
                  </a:txBody>
                  <a:tcPr/>
                </a:tc>
                <a:tc>
                  <a:txBody>
                    <a:bodyPr/>
                    <a:lstStyle/>
                    <a:p>
                      <a:r>
                        <a:rPr lang="en-US" sz="1600" dirty="0"/>
                        <a:t>At least 90% of funding must be awarded to grants &gt; $25 Million</a:t>
                      </a:r>
                    </a:p>
                  </a:txBody>
                  <a:tcPr/>
                </a:tc>
                <a:tc>
                  <a:txBody>
                    <a:bodyPr/>
                    <a:lstStyle/>
                    <a:p>
                      <a:r>
                        <a:rPr lang="en-US" sz="1600" dirty="0"/>
                        <a:t>$675 Million</a:t>
                      </a:r>
                    </a:p>
                  </a:txBody>
                  <a:tcPr/>
                </a:tc>
                <a:extLst>
                  <a:ext uri="{0D108BD9-81ED-4DB2-BD59-A6C34878D82A}">
                    <a16:rowId xmlns:a16="http://schemas.microsoft.com/office/drawing/2014/main" val="472004058"/>
                  </a:ext>
                </a:extLst>
              </a:tr>
            </a:tbl>
          </a:graphicData>
        </a:graphic>
      </p:graphicFrame>
    </p:spTree>
    <p:extLst>
      <p:ext uri="{BB962C8B-B14F-4D97-AF65-F5344CB8AC3E}">
        <p14:creationId xmlns:p14="http://schemas.microsoft.com/office/powerpoint/2010/main" val="16235641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5AF73F45-8429-4287-807B-3FDD737C4415}"/>
              </a:ext>
            </a:extLst>
          </p:cNvPr>
          <p:cNvGraphicFramePr/>
          <p:nvPr>
            <p:extLst>
              <p:ext uri="{D42A27DB-BD31-4B8C-83A1-F6EECF244321}">
                <p14:modId xmlns:p14="http://schemas.microsoft.com/office/powerpoint/2010/main" val="1877194836"/>
              </p:ext>
            </p:extLst>
          </p:nvPr>
        </p:nvGraphicFramePr>
        <p:xfrm>
          <a:off x="2982155" y="1226377"/>
          <a:ext cx="8780986" cy="4972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49152EF-125A-42C3-8BD4-914A49F8A582}"/>
              </a:ext>
            </a:extLst>
          </p:cNvPr>
          <p:cNvGrpSpPr/>
          <p:nvPr/>
        </p:nvGrpSpPr>
        <p:grpSpPr>
          <a:xfrm>
            <a:off x="447867" y="2362975"/>
            <a:ext cx="2627844" cy="2684038"/>
            <a:chOff x="10190845" y="300885"/>
            <a:chExt cx="1828800" cy="1828800"/>
          </a:xfrm>
        </p:grpSpPr>
        <p:sp>
          <p:nvSpPr>
            <p:cNvPr id="9" name="Oval 8">
              <a:extLst>
                <a:ext uri="{FF2B5EF4-FFF2-40B4-BE49-F238E27FC236}">
                  <a16:creationId xmlns:a16="http://schemas.microsoft.com/office/drawing/2014/main" id="{1C825655-C95B-4B16-9700-A16D58982F4A}"/>
                </a:ext>
              </a:extLst>
            </p:cNvPr>
            <p:cNvSpPr/>
            <p:nvPr/>
          </p:nvSpPr>
          <p:spPr bwMode="gray">
            <a:xfrm>
              <a:off x="10190845" y="300885"/>
              <a:ext cx="1828800" cy="1828800"/>
            </a:xfrm>
            <a:prstGeom prst="ellipse">
              <a:avLst/>
            </a:prstGeom>
            <a:noFill/>
            <a:ln w="38100" algn="ctr">
              <a:solidFill>
                <a:srgbClr val="2E76BB"/>
              </a:solidFill>
              <a:prstDash val="sysDot"/>
              <a:miter lim="800000"/>
              <a:headEnd/>
              <a:tailEnd/>
            </a:ln>
          </p:spPr>
          <p:txBody>
            <a:bodyPr wrap="square" lIns="88900" tIns="88900" rIns="88900" bIns="88900" rtlCol="0" anchor="ctr"/>
            <a:lstStyle/>
            <a:p>
              <a:pPr marL="0" marR="0" lvl="0" indent="0" algn="ctr" defTabSz="121917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a:ln>
                  <a:noFill/>
                </a:ln>
                <a:solidFill>
                  <a:prstClr val="white"/>
                </a:solidFill>
                <a:effectLst/>
                <a:uLnTx/>
                <a:uFillTx/>
                <a:latin typeface="Verdana"/>
              </a:endParaRPr>
            </a:p>
          </p:txBody>
        </p:sp>
        <p:pic>
          <p:nvPicPr>
            <p:cNvPr id="12" name="Picture 11">
              <a:extLst>
                <a:ext uri="{FF2B5EF4-FFF2-40B4-BE49-F238E27FC236}">
                  <a16:creationId xmlns:a16="http://schemas.microsoft.com/office/drawing/2014/main" id="{8E643665-53B9-4C55-8FC7-C55826BF8D63}"/>
                </a:ext>
              </a:extLst>
            </p:cNvPr>
            <p:cNvPicPr>
              <a:picLocks noChangeAspect="1"/>
            </p:cNvPicPr>
            <p:nvPr/>
          </p:nvPicPr>
          <p:blipFill>
            <a:blip r:embed="rId8"/>
            <a:stretch>
              <a:fillRect/>
            </a:stretch>
          </p:blipFill>
          <p:spPr>
            <a:xfrm>
              <a:off x="10281184" y="541551"/>
              <a:ext cx="1673353" cy="1347469"/>
            </a:xfrm>
            <a:prstGeom prst="ellipse">
              <a:avLst/>
            </a:prstGeom>
          </p:spPr>
        </p:pic>
      </p:grpSp>
      <p:sp>
        <p:nvSpPr>
          <p:cNvPr id="13" name="Title 1">
            <a:extLst>
              <a:ext uri="{FF2B5EF4-FFF2-40B4-BE49-F238E27FC236}">
                <a16:creationId xmlns:a16="http://schemas.microsoft.com/office/drawing/2014/main" id="{94CB88A9-687A-447B-983F-616C77F53F0F}"/>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Agenda</a:t>
            </a:r>
          </a:p>
        </p:txBody>
      </p:sp>
    </p:spTree>
    <p:extLst>
      <p:ext uri="{BB962C8B-B14F-4D97-AF65-F5344CB8AC3E}">
        <p14:creationId xmlns:p14="http://schemas.microsoft.com/office/powerpoint/2010/main" val="175732532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10F20-180A-A8C2-22F6-BD438995C97F}"/>
              </a:ext>
            </a:extLst>
          </p:cNvPr>
          <p:cNvSpPr>
            <a:spLocks noGrp="1"/>
          </p:cNvSpPr>
          <p:nvPr>
            <p:ph type="title"/>
          </p:nvPr>
        </p:nvSpPr>
        <p:spPr>
          <a:xfrm>
            <a:off x="838200" y="141767"/>
            <a:ext cx="7104135" cy="488445"/>
          </a:xfrm>
        </p:spPr>
        <p:txBody>
          <a:bodyPr/>
          <a:lstStyle/>
          <a:p>
            <a:r>
              <a:rPr lang="en-US">
                <a:cs typeface="Times"/>
              </a:rPr>
              <a:t>Safe Streets and Roads for All (SS4A)</a:t>
            </a:r>
            <a:endParaRPr lang="en-US"/>
          </a:p>
        </p:txBody>
      </p:sp>
      <p:sp>
        <p:nvSpPr>
          <p:cNvPr id="5" name="TextBox 1">
            <a:extLst>
              <a:ext uri="{FF2B5EF4-FFF2-40B4-BE49-F238E27FC236}">
                <a16:creationId xmlns:a16="http://schemas.microsoft.com/office/drawing/2014/main" id="{9042122D-703A-7591-4626-2493FE2A9E25}"/>
              </a:ext>
            </a:extLst>
          </p:cNvPr>
          <p:cNvSpPr txBox="1"/>
          <p:nvPr/>
        </p:nvSpPr>
        <p:spPr>
          <a:xfrm>
            <a:off x="328131" y="974442"/>
            <a:ext cx="6406044" cy="483209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alibri"/>
                <a:cs typeface="Calibri"/>
              </a:rPr>
              <a:t>Purpose: </a:t>
            </a:r>
            <a:r>
              <a:rPr lang="en-US" sz="2400" dirty="0">
                <a:solidFill>
                  <a:prstClr val="black"/>
                </a:solidFill>
                <a:latin typeface="Calibri"/>
                <a:cs typeface="Calibri"/>
              </a:rPr>
              <a:t>To prevent</a:t>
            </a:r>
            <a:r>
              <a:rPr kumimoji="0" lang="en-US" sz="2400" b="0" i="0" u="none" strike="noStrike" kern="1200" cap="none" spc="0" normalizeH="0" baseline="0" noProof="0" dirty="0">
                <a:ln>
                  <a:noFill/>
                </a:ln>
                <a:solidFill>
                  <a:prstClr val="black"/>
                </a:solidFill>
                <a:effectLst/>
                <a:uLnTx/>
                <a:uFillTx/>
                <a:latin typeface="Calibri"/>
                <a:cs typeface="Calibri"/>
              </a:rPr>
              <a:t> deaths and serious injuries on our roadways.</a:t>
            </a:r>
            <a:endParaRPr lang="en-US" sz="2400" b="0" i="0" u="none" strike="noStrike" kern="1200" cap="none" spc="0" normalizeH="0" baseline="0" noProof="0" dirty="0">
              <a:ln>
                <a:noFill/>
              </a:ln>
              <a:solidFill>
                <a:prstClr val="black"/>
              </a:solidFill>
              <a:effectLst/>
              <a:uLnTx/>
              <a:uFillTx/>
              <a:latin typeface="Calibri"/>
              <a:cs typeface="Calibri"/>
            </a:endParaRPr>
          </a:p>
          <a:p>
            <a:pPr marL="285750" indent="-285750">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alibri"/>
                <a:cs typeface="Calibri"/>
              </a:rPr>
              <a:t>Focus </a:t>
            </a:r>
            <a:r>
              <a:rPr lang="en-US" sz="2400" dirty="0">
                <a:solidFill>
                  <a:prstClr val="black"/>
                </a:solidFill>
                <a:latin typeface="Calibri"/>
                <a:cs typeface="Calibri"/>
              </a:rPr>
              <a:t>is </a:t>
            </a:r>
            <a:r>
              <a:rPr kumimoji="0" lang="en-US" sz="2400" b="0" i="0" u="none" strike="noStrike" kern="1200" cap="none" spc="0" normalizeH="0" baseline="0" noProof="0" dirty="0">
                <a:ln>
                  <a:noFill/>
                </a:ln>
                <a:solidFill>
                  <a:prstClr val="black"/>
                </a:solidFill>
                <a:effectLst/>
                <a:uLnTx/>
                <a:uFillTx/>
                <a:latin typeface="Calibri"/>
                <a:cs typeface="Calibri"/>
              </a:rPr>
              <a:t>on comprehensive safety action planning and implementing those plans</a:t>
            </a:r>
            <a:r>
              <a:rPr lang="en-US" sz="2400" dirty="0">
                <a:solidFill>
                  <a:prstClr val="black"/>
                </a:solidFill>
                <a:latin typeface="Calibri"/>
                <a:cs typeface="Calibri"/>
              </a:rPr>
              <a:t>.</a:t>
            </a:r>
            <a:endParaRPr lang="en-US" sz="2400" b="0" i="0" u="none" strike="noStrike" kern="1200" cap="none" spc="0" normalizeH="0" baseline="0" noProof="0" dirty="0">
              <a:ln>
                <a:noFill/>
              </a:ln>
              <a:solidFill>
                <a:prstClr val="black"/>
              </a:solidFill>
              <a:effectLst/>
              <a:uLnTx/>
              <a:uFillTx/>
              <a:latin typeface="Calibri"/>
              <a:cs typeface="Calibri"/>
            </a:endParaRPr>
          </a:p>
          <a:p>
            <a:pPr marL="285750" indent="-285750">
              <a:buFont typeface="Arial" panose="020B0604020202020204" pitchFamily="34" charset="0"/>
              <a:buChar char="•"/>
              <a:defRPr/>
            </a:pPr>
            <a:r>
              <a:rPr lang="en-US" sz="2400" dirty="0">
                <a:solidFill>
                  <a:prstClr val="black"/>
                </a:solidFill>
                <a:latin typeface="Calibri"/>
                <a:cs typeface="Calibri"/>
              </a:rPr>
              <a:t>Over $1.7 Billion has been awarded to over 1,000 communities in FY22 &amp; FY23</a:t>
            </a:r>
          </a:p>
          <a:p>
            <a:pPr marL="285750" indent="-285750">
              <a:buFont typeface="Arial" panose="020B0604020202020204" pitchFamily="34" charset="0"/>
              <a:buChar char="•"/>
              <a:defRPr/>
            </a:pPr>
            <a:r>
              <a:rPr lang="en-US" sz="2400" dirty="0">
                <a:solidFill>
                  <a:prstClr val="black"/>
                </a:solidFill>
                <a:latin typeface="Calibri"/>
                <a:cs typeface="Calibri"/>
              </a:rPr>
              <a:t>FY24 funding available!</a:t>
            </a:r>
          </a:p>
          <a:p>
            <a:pPr marL="742950" lvl="1" indent="-285750">
              <a:buFont typeface="Arial" panose="020B0604020202020204" pitchFamily="34" charset="0"/>
              <a:buChar char="•"/>
              <a:defRPr/>
            </a:pPr>
            <a:r>
              <a:rPr lang="en-US" sz="2000" b="1" dirty="0">
                <a:solidFill>
                  <a:prstClr val="black"/>
                </a:solidFill>
                <a:latin typeface="Calibri"/>
                <a:cs typeface="Calibri"/>
              </a:rPr>
              <a:t>April 4, 2024, 5 p.m. (EDT): </a:t>
            </a:r>
            <a:r>
              <a:rPr lang="en-US" sz="2000" dirty="0">
                <a:solidFill>
                  <a:prstClr val="black"/>
                </a:solidFill>
                <a:latin typeface="Calibri"/>
                <a:cs typeface="Calibri"/>
              </a:rPr>
              <a:t>Deadline #1 for Planning and Demonstration Grants</a:t>
            </a:r>
          </a:p>
          <a:p>
            <a:pPr marL="742950" lvl="1" indent="-285750">
              <a:buFont typeface="Arial" panose="020B0604020202020204" pitchFamily="34" charset="0"/>
              <a:buChar char="•"/>
              <a:defRPr/>
            </a:pPr>
            <a:r>
              <a:rPr lang="en-US" sz="2000" b="1" dirty="0">
                <a:solidFill>
                  <a:prstClr val="black"/>
                </a:solidFill>
                <a:latin typeface="Calibri"/>
                <a:cs typeface="Calibri"/>
              </a:rPr>
              <a:t>May 16, 2024, 5 p.m. (EDT)</a:t>
            </a:r>
            <a:r>
              <a:rPr lang="en-US" sz="2000" dirty="0">
                <a:solidFill>
                  <a:prstClr val="black"/>
                </a:solidFill>
                <a:latin typeface="Calibri"/>
                <a:cs typeface="Calibri"/>
              </a:rPr>
              <a:t>: Sole deadline for Implementation Grants. Deadline #2 for Planning and Demonstration Grants</a:t>
            </a:r>
          </a:p>
          <a:p>
            <a:pPr marL="742950" lvl="1" indent="-285750">
              <a:buFont typeface="Arial" panose="020B0604020202020204" pitchFamily="34" charset="0"/>
              <a:buChar char="•"/>
              <a:defRPr/>
            </a:pPr>
            <a:r>
              <a:rPr lang="en-US" sz="2000" b="1" dirty="0">
                <a:solidFill>
                  <a:prstClr val="black"/>
                </a:solidFill>
                <a:latin typeface="Calibri"/>
                <a:cs typeface="Calibri"/>
              </a:rPr>
              <a:t>August 29, 2024, 5 p.m. (EDT):</a:t>
            </a:r>
            <a:r>
              <a:rPr lang="en-US" sz="2000" dirty="0">
                <a:solidFill>
                  <a:prstClr val="black"/>
                </a:solidFill>
                <a:latin typeface="Calibri"/>
                <a:cs typeface="Calibri"/>
              </a:rPr>
              <a:t> Deadline #3 for Planning and Demonstration Grants. NOFO closes</a:t>
            </a:r>
          </a:p>
        </p:txBody>
      </p:sp>
      <p:pic>
        <p:nvPicPr>
          <p:cNvPr id="4" name="Picture 3">
            <a:extLst>
              <a:ext uri="{FF2B5EF4-FFF2-40B4-BE49-F238E27FC236}">
                <a16:creationId xmlns:a16="http://schemas.microsoft.com/office/drawing/2014/main" id="{3000832E-681A-76EC-91D4-4AEFFF26BB4D}"/>
              </a:ext>
            </a:extLst>
          </p:cNvPr>
          <p:cNvPicPr>
            <a:picLocks noChangeAspect="1"/>
          </p:cNvPicPr>
          <p:nvPr/>
        </p:nvPicPr>
        <p:blipFill>
          <a:blip r:embed="rId3"/>
          <a:stretch>
            <a:fillRect/>
          </a:stretch>
        </p:blipFill>
        <p:spPr>
          <a:xfrm>
            <a:off x="11232905" y="-3664"/>
            <a:ext cx="956898" cy="980344"/>
          </a:xfrm>
          <a:prstGeom prst="rect">
            <a:avLst/>
          </a:prstGeom>
        </p:spPr>
      </p:pic>
      <p:pic>
        <p:nvPicPr>
          <p:cNvPr id="7" name="Picture 6">
            <a:extLst>
              <a:ext uri="{FF2B5EF4-FFF2-40B4-BE49-F238E27FC236}">
                <a16:creationId xmlns:a16="http://schemas.microsoft.com/office/drawing/2014/main" id="{76CAFB4F-F840-F274-51B5-C0E710928C5A}"/>
              </a:ext>
            </a:extLst>
          </p:cNvPr>
          <p:cNvPicPr>
            <a:picLocks noChangeAspect="1"/>
          </p:cNvPicPr>
          <p:nvPr/>
        </p:nvPicPr>
        <p:blipFill>
          <a:blip r:embed="rId4"/>
          <a:stretch>
            <a:fillRect/>
          </a:stretch>
        </p:blipFill>
        <p:spPr>
          <a:xfrm>
            <a:off x="6634012" y="2240284"/>
            <a:ext cx="5077342" cy="2731294"/>
          </a:xfrm>
          <a:prstGeom prst="rect">
            <a:avLst/>
          </a:prstGeom>
        </p:spPr>
      </p:pic>
    </p:spTree>
    <p:extLst>
      <p:ext uri="{BB962C8B-B14F-4D97-AF65-F5344CB8AC3E}">
        <p14:creationId xmlns:p14="http://schemas.microsoft.com/office/powerpoint/2010/main" val="1060577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2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2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ubtitle 2"/>
          <p:cNvSpPr>
            <a:spLocks noGrp="1"/>
          </p:cNvSpPr>
          <p:nvPr>
            <p:ph type="subTitle" idx="1"/>
          </p:nvPr>
        </p:nvSpPr>
        <p:spPr>
          <a:xfrm>
            <a:off x="434190" y="4544254"/>
            <a:ext cx="6007137" cy="1687655"/>
          </a:xfrm>
          <a:noFill/>
        </p:spPr>
        <p:txBody>
          <a:bodyPr vert="horz" lIns="91440" tIns="45720" rIns="91440" bIns="45720" rtlCol="0" anchor="t">
            <a:normAutofit/>
          </a:bodyPr>
          <a:lstStyle/>
          <a:p>
            <a:pPr algn="ctr">
              <a:spcBef>
                <a:spcPts val="0"/>
              </a:spcBef>
            </a:pPr>
            <a:r>
              <a:rPr lang="en-US" sz="2200">
                <a:solidFill>
                  <a:schemeClr val="accent1">
                    <a:lumMod val="50000"/>
                  </a:schemeClr>
                </a:solidFill>
                <a:latin typeface="+mn-lt"/>
                <a:cs typeface="Times"/>
              </a:rPr>
              <a:t>Subscribe to the ROUTES Newsletter ---&gt;</a:t>
            </a:r>
          </a:p>
          <a:p>
            <a:pPr algn="ctr">
              <a:spcBef>
                <a:spcPts val="0"/>
              </a:spcBef>
            </a:pPr>
            <a:r>
              <a:rPr lang="en-US" sz="2200">
                <a:solidFill>
                  <a:schemeClr val="accent1">
                    <a:lumMod val="50000"/>
                  </a:schemeClr>
                </a:solidFill>
                <a:latin typeface="+mn-lt"/>
                <a:cs typeface="Times"/>
              </a:rPr>
              <a:t>OR</a:t>
            </a:r>
          </a:p>
          <a:p>
            <a:pPr algn="ctr">
              <a:spcBef>
                <a:spcPts val="0"/>
              </a:spcBef>
            </a:pPr>
            <a:r>
              <a:rPr lang="en-US" sz="2200">
                <a:solidFill>
                  <a:schemeClr val="accent1">
                    <a:lumMod val="50000"/>
                  </a:schemeClr>
                </a:solidFill>
                <a:latin typeface="+mn-lt"/>
                <a:cs typeface="Times"/>
              </a:rPr>
              <a:t>Contact Us!</a:t>
            </a:r>
            <a:endParaRPr lang="en-US">
              <a:solidFill>
                <a:schemeClr val="accent1">
                  <a:lumMod val="50000"/>
                </a:schemeClr>
              </a:solidFill>
            </a:endParaRPr>
          </a:p>
          <a:p>
            <a:pPr algn="ctr">
              <a:spcBef>
                <a:spcPts val="0"/>
              </a:spcBef>
            </a:pPr>
            <a:r>
              <a:rPr lang="en-US" sz="2200" b="0">
                <a:solidFill>
                  <a:srgbClr val="0070C0"/>
                </a:solidFill>
                <a:latin typeface="+mn-lt"/>
                <a:cs typeface="Times"/>
                <a:hlinkClick r:id="rId3">
                  <a:extLst>
                    <a:ext uri="{A12FA001-AC4F-418D-AE19-62706E023703}">
                      <ahyp:hlinkClr xmlns:ahyp="http://schemas.microsoft.com/office/drawing/2018/hyperlinkcolor" val="tx"/>
                    </a:ext>
                  </a:extLst>
                </a:hlinkClick>
              </a:rPr>
              <a:t>Rural@dot.gov</a:t>
            </a:r>
            <a:endParaRPr lang="en-US" sz="2200" b="0">
              <a:solidFill>
                <a:srgbClr val="0070C0"/>
              </a:solidFill>
              <a:latin typeface="+mn-lt"/>
              <a:cs typeface="Times"/>
            </a:endParaRPr>
          </a:p>
          <a:p>
            <a:pPr algn="ctr">
              <a:spcBef>
                <a:spcPts val="0"/>
              </a:spcBef>
            </a:pPr>
            <a:r>
              <a:rPr lang="en-US" sz="2200" b="0">
                <a:solidFill>
                  <a:srgbClr val="0070C0"/>
                </a:solidFill>
                <a:latin typeface="+mn-lt"/>
                <a:cs typeface="Times"/>
                <a:hlinkClick r:id="rId4">
                  <a:extLst>
                    <a:ext uri="{A12FA001-AC4F-418D-AE19-62706E023703}">
                      <ahyp:hlinkClr xmlns:ahyp="http://schemas.microsoft.com/office/drawing/2018/hyperlinkcolor" val="tx"/>
                    </a:ext>
                  </a:extLst>
                </a:hlinkClick>
              </a:rPr>
              <a:t>www.transportation.gov/rural</a:t>
            </a:r>
            <a:endParaRPr lang="en-US" sz="2200" b="0">
              <a:solidFill>
                <a:srgbClr val="0070C0"/>
              </a:solidFill>
              <a:latin typeface="+mn-lt"/>
              <a:cs typeface="Times"/>
            </a:endParaRPr>
          </a:p>
          <a:p>
            <a:pPr>
              <a:spcBef>
                <a:spcPts val="0"/>
              </a:spcBef>
            </a:pPr>
            <a:endParaRPr lang="en-US" sz="2200">
              <a:solidFill>
                <a:schemeClr val="accent1">
                  <a:lumMod val="50000"/>
                </a:schemeClr>
              </a:solidFill>
              <a:latin typeface="+mn-lt"/>
              <a:cs typeface="Times"/>
            </a:endParaRPr>
          </a:p>
        </p:txBody>
      </p:sp>
      <p:pic>
        <p:nvPicPr>
          <p:cNvPr id="18" name="Picture 17" descr="A road with trees on the side&#10;&#10;Description automatically generated with low confidence">
            <a:extLst>
              <a:ext uri="{FF2B5EF4-FFF2-40B4-BE49-F238E27FC236}">
                <a16:creationId xmlns:a16="http://schemas.microsoft.com/office/drawing/2014/main" id="{E8D3FA99-704F-405A-9634-0271982792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7299" b="13610"/>
          <a:stretch/>
        </p:blipFill>
        <p:spPr>
          <a:xfrm>
            <a:off x="-1797" y="0"/>
            <a:ext cx="12197449" cy="3956958"/>
          </a:xfrm>
          <a:prstGeom prst="rect">
            <a:avLst/>
          </a:prstGeom>
        </p:spPr>
      </p:pic>
      <p:pic>
        <p:nvPicPr>
          <p:cNvPr id="2" name="Picture 3">
            <a:extLst>
              <a:ext uri="{FF2B5EF4-FFF2-40B4-BE49-F238E27FC236}">
                <a16:creationId xmlns:a16="http://schemas.microsoft.com/office/drawing/2014/main" id="{CD9CBB05-7B51-4EA1-F6A5-BB7505431C94}"/>
              </a:ext>
            </a:extLst>
          </p:cNvPr>
          <p:cNvPicPr>
            <a:picLocks noChangeAspect="1"/>
          </p:cNvPicPr>
          <p:nvPr/>
        </p:nvPicPr>
        <p:blipFill>
          <a:blip r:embed="rId6"/>
          <a:stretch>
            <a:fillRect/>
          </a:stretch>
        </p:blipFill>
        <p:spPr>
          <a:xfrm>
            <a:off x="8553450" y="4000500"/>
            <a:ext cx="2847975" cy="2857500"/>
          </a:xfrm>
          <a:prstGeom prst="rect">
            <a:avLst/>
          </a:prstGeom>
        </p:spPr>
      </p:pic>
    </p:spTree>
    <p:extLst>
      <p:ext uri="{BB962C8B-B14F-4D97-AF65-F5344CB8AC3E}">
        <p14:creationId xmlns:p14="http://schemas.microsoft.com/office/powerpoint/2010/main" val="225144183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hlinkClick r:id="" action="ppaction://noaction"/>
            <a:extLst>
              <a:ext uri="{FF2B5EF4-FFF2-40B4-BE49-F238E27FC236}">
                <a16:creationId xmlns:a16="http://schemas.microsoft.com/office/drawing/2014/main" id="{F89BBA87-9B89-4C9A-9DA8-F05458F6E6F8}"/>
              </a:ext>
            </a:extLst>
          </p:cNvPr>
          <p:cNvSpPr txBox="1"/>
          <p:nvPr/>
        </p:nvSpPr>
        <p:spPr>
          <a:xfrm>
            <a:off x="1529547" y="928555"/>
            <a:ext cx="9319428"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ea typeface="+mn-ea"/>
                <a:cs typeface="Segoe UI" panose="020B0502040204020203" pitchFamily="34" charset="0"/>
              </a:rPr>
              <a:t>The Rural Opportunities to Use Transportation for Economic Success (ROUTES) Initiative aims to address disparities in rural transportation infrastructure and improve safety, mobility, and economic competitiveness nationwide.</a:t>
            </a: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3" name="Travel_Border_4">
            <a:extLst>
              <a:ext uri="{FF2B5EF4-FFF2-40B4-BE49-F238E27FC236}">
                <a16:creationId xmlns:a16="http://schemas.microsoft.com/office/drawing/2014/main" id="{B0AA59DD-5D5A-4FA2-91CD-F5327ABA7714}"/>
              </a:ext>
            </a:extLst>
          </p:cNvPr>
          <p:cNvGrpSpPr>
            <a:grpSpLocks noChangeAspect="1"/>
          </p:cNvGrpSpPr>
          <p:nvPr/>
        </p:nvGrpSpPr>
        <p:grpSpPr bwMode="auto">
          <a:xfrm>
            <a:off x="1524000" y="0"/>
            <a:ext cx="0" cy="0"/>
            <a:chOff x="5306" y="3201"/>
            <a:chExt cx="340" cy="340"/>
          </a:xfrm>
          <a:solidFill>
            <a:schemeClr val="accent1"/>
          </a:solidFill>
        </p:grpSpPr>
        <p:sp>
          <p:nvSpPr>
            <p:cNvPr id="34" name="Freeform 646">
              <a:extLst>
                <a:ext uri="{FF2B5EF4-FFF2-40B4-BE49-F238E27FC236}">
                  <a16:creationId xmlns:a16="http://schemas.microsoft.com/office/drawing/2014/main" id="{00D053F3-AB21-436D-8124-92CF8A345C73}"/>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647">
              <a:extLst>
                <a:ext uri="{FF2B5EF4-FFF2-40B4-BE49-F238E27FC236}">
                  <a16:creationId xmlns:a16="http://schemas.microsoft.com/office/drawing/2014/main" id="{3A33B7EC-86AA-4DA1-8310-5F65729D281A}"/>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 name="Group 1">
            <a:extLst>
              <a:ext uri="{FF2B5EF4-FFF2-40B4-BE49-F238E27FC236}">
                <a16:creationId xmlns:a16="http://schemas.microsoft.com/office/drawing/2014/main" id="{05E3D832-761B-41D0-A9BD-2F9453867669}"/>
              </a:ext>
            </a:extLst>
          </p:cNvPr>
          <p:cNvGrpSpPr/>
          <p:nvPr/>
        </p:nvGrpSpPr>
        <p:grpSpPr>
          <a:xfrm>
            <a:off x="766963" y="1962764"/>
            <a:ext cx="10411132" cy="4100579"/>
            <a:chOff x="1980472" y="1819767"/>
            <a:chExt cx="8753791" cy="4100579"/>
          </a:xfrm>
        </p:grpSpPr>
        <p:sp>
          <p:nvSpPr>
            <p:cNvPr id="36" name="Rectangle 35">
              <a:extLst>
                <a:ext uri="{FF2B5EF4-FFF2-40B4-BE49-F238E27FC236}">
                  <a16:creationId xmlns:a16="http://schemas.microsoft.com/office/drawing/2014/main" id="{C1BB162D-293E-4970-B5A2-CA9D4B9D3693}"/>
                </a:ext>
              </a:extLst>
            </p:cNvPr>
            <p:cNvSpPr/>
            <p:nvPr/>
          </p:nvSpPr>
          <p:spPr>
            <a:xfrm>
              <a:off x="2835863" y="2456027"/>
              <a:ext cx="7898400" cy="3272691"/>
            </a:xfrm>
            <a:prstGeom prst="rect">
              <a:avLst/>
            </a:prstGeom>
          </p:spPr>
          <p:txBody>
            <a:bodyPr wrap="square" lIns="91440" tIns="45720" rIns="91440" bIns="45720" anchor="t">
              <a:spAutoFit/>
            </a:bodyPr>
            <a:lstStyle/>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chemeClr val="accent3"/>
                  </a:solidFill>
                  <a:effectLst/>
                  <a:uLnTx/>
                  <a:uFillTx/>
                  <a:ea typeface="+mn-ea"/>
                  <a:cs typeface="Segoe UI" panose="020B0502040204020203" pitchFamily="34" charset="0"/>
                </a:rPr>
                <a:t>Engage</a:t>
              </a:r>
              <a:r>
                <a:rPr kumimoji="0" lang="en-US" sz="1800" b="1" i="0" u="none" strike="noStrike" kern="1200" cap="none" spc="0" normalizeH="0" baseline="0" noProof="0">
                  <a:ln>
                    <a:noFill/>
                  </a:ln>
                  <a:solidFill>
                    <a:srgbClr val="2E76BB"/>
                  </a:solidFill>
                  <a:effectLst/>
                  <a:uLnTx/>
                  <a:uFillTx/>
                  <a:ea typeface="+mn-ea"/>
                  <a:cs typeface="Segoe UI" panose="020B0502040204020203" pitchFamily="34" charset="0"/>
                </a:rPr>
                <a:t> Rural Communities </a:t>
              </a:r>
              <a:r>
                <a:rPr kumimoji="0" lang="en-US" sz="1800" b="0" i="0" u="none" strike="noStrike" kern="1200" cap="none" spc="0" normalizeH="0" baseline="0" noProof="0">
                  <a:ln>
                    <a:noFill/>
                  </a:ln>
                  <a:solidFill>
                    <a:prstClr val="black"/>
                  </a:solidFill>
                  <a:effectLst/>
                  <a:uLnTx/>
                  <a:uFillTx/>
                  <a:ea typeface="+mn-ea"/>
                  <a:cs typeface="Segoe UI" panose="020B0502040204020203" pitchFamily="34" charset="0"/>
                </a:rPr>
                <a:t>through a series of events to better understand the needs and priorities of rural communities and collect essential data from stakeholders representing different communities, groups, workers, and industries to identify solutions. </a:t>
              </a:r>
            </a:p>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rgbClr val="2E76BB"/>
                  </a:solidFill>
                  <a:effectLst/>
                  <a:uLnTx/>
                  <a:uFillTx/>
                  <a:ea typeface="+mn-ea"/>
                  <a:cs typeface="Segoe UI"/>
                </a:rPr>
                <a:t>Harmonize DOT Programs </a:t>
              </a:r>
              <a:r>
                <a:rPr kumimoji="0" lang="en-US" sz="1800" b="0" i="0" u="none" strike="noStrike" kern="1200" cap="none" spc="0" normalizeH="0" baseline="0" noProof="0">
                  <a:ln>
                    <a:noFill/>
                  </a:ln>
                  <a:solidFill>
                    <a:prstClr val="black"/>
                  </a:solidFill>
                  <a:effectLst/>
                  <a:uLnTx/>
                  <a:uFillTx/>
                  <a:ea typeface="+mn-ea"/>
                  <a:cs typeface="Segoe UI"/>
                </a:rPr>
                <a:t>to implement rural policy by establishing the ROUTES Council to lead and coordinate Departmental activities to implement the </a:t>
              </a:r>
              <a:r>
                <a:rPr kumimoji="0" lang="en-US" sz="1800" b="0" i="1" u="none" strike="noStrike" kern="1200" cap="none" spc="0" normalizeH="0" baseline="0" noProof="0">
                  <a:ln>
                    <a:noFill/>
                  </a:ln>
                  <a:solidFill>
                    <a:prstClr val="black"/>
                  </a:solidFill>
                  <a:effectLst/>
                  <a:uLnTx/>
                  <a:uFillTx/>
                  <a:ea typeface="+mn-ea"/>
                  <a:cs typeface="Segoe UI"/>
                </a:rPr>
                <a:t>Bipartisan Infrastructure Law</a:t>
              </a:r>
              <a:r>
                <a:rPr kumimoji="0" lang="en-US" sz="1800" b="0" i="0" u="none" strike="noStrike" kern="1200" cap="none" spc="0" normalizeH="0" baseline="0" noProof="0">
                  <a:ln>
                    <a:noFill/>
                  </a:ln>
                  <a:solidFill>
                    <a:prstClr val="black"/>
                  </a:solidFill>
                  <a:effectLst/>
                  <a:uLnTx/>
                  <a:uFillTx/>
                  <a:ea typeface="+mn-ea"/>
                  <a:cs typeface="Segoe UI"/>
                </a:rPr>
                <a:t> and better align new and existing funding, financing, and technical assistance programs with the needs of rural and Tribal communities. </a:t>
              </a:r>
            </a:p>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rgbClr val="2E76BB"/>
                  </a:solidFill>
                  <a:effectLst/>
                  <a:uLnTx/>
                  <a:uFillTx/>
                  <a:ea typeface="+mn-ea"/>
                  <a:cs typeface="Segoe UI" panose="020B0502040204020203" pitchFamily="34" charset="0"/>
                </a:rPr>
                <a:t>Utilize a Whole-of-Government Approach </a:t>
              </a:r>
              <a:r>
                <a:rPr kumimoji="0" lang="en-US" sz="1800" b="0" i="0" u="none" strike="noStrike" kern="1200" cap="none" spc="0" normalizeH="0" baseline="0" noProof="0">
                  <a:ln>
                    <a:noFill/>
                  </a:ln>
                  <a:solidFill>
                    <a:prstClr val="black"/>
                  </a:solidFill>
                  <a:effectLst/>
                  <a:uLnTx/>
                  <a:uFillTx/>
                  <a:ea typeface="+mn-ea"/>
                  <a:cs typeface="Segoe UI" panose="020B0502040204020203" pitchFamily="34" charset="0"/>
                </a:rPr>
                <a:t>by partnering with other rural-focused federal agencies to expand DOT’s presence in rural America, better promote Departmental resources to their customers, and capitalize on synergies between federal funding programs.</a:t>
              </a:r>
            </a:p>
          </p:txBody>
        </p:sp>
        <p:grpSp>
          <p:nvGrpSpPr>
            <p:cNvPr id="37" name="Group 36">
              <a:extLst>
                <a:ext uri="{FF2B5EF4-FFF2-40B4-BE49-F238E27FC236}">
                  <a16:creationId xmlns:a16="http://schemas.microsoft.com/office/drawing/2014/main" id="{0338CCDB-6105-4140-B997-5B73BAEAE2C6}"/>
                </a:ext>
              </a:extLst>
            </p:cNvPr>
            <p:cNvGrpSpPr/>
            <p:nvPr/>
          </p:nvGrpSpPr>
          <p:grpSpPr>
            <a:xfrm>
              <a:off x="1980472" y="1819767"/>
              <a:ext cx="541799" cy="524226"/>
              <a:chOff x="10190845" y="300885"/>
              <a:chExt cx="1828800" cy="1828800"/>
            </a:xfrm>
          </p:grpSpPr>
          <p:sp>
            <p:nvSpPr>
              <p:cNvPr id="38" name="Oval 37">
                <a:extLst>
                  <a:ext uri="{FF2B5EF4-FFF2-40B4-BE49-F238E27FC236}">
                    <a16:creationId xmlns:a16="http://schemas.microsoft.com/office/drawing/2014/main" id="{2175B47D-3F37-4EB4-BCF1-7392E9E05A20}"/>
                  </a:ext>
                </a:extLst>
              </p:cNvPr>
              <p:cNvSpPr/>
              <p:nvPr/>
            </p:nvSpPr>
            <p:spPr bwMode="gray">
              <a:xfrm>
                <a:off x="10190845" y="300885"/>
                <a:ext cx="1828800" cy="1828800"/>
              </a:xfrm>
              <a:prstGeom prst="ellipse">
                <a:avLst/>
              </a:prstGeom>
              <a:noFill/>
              <a:ln w="28575" algn="ctr">
                <a:solidFill>
                  <a:srgbClr val="2E76BB"/>
                </a:solidFill>
                <a:prstDash val="sysDot"/>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pic>
            <p:nvPicPr>
              <p:cNvPr id="39" name="Picture 38">
                <a:extLst>
                  <a:ext uri="{FF2B5EF4-FFF2-40B4-BE49-F238E27FC236}">
                    <a16:creationId xmlns:a16="http://schemas.microsoft.com/office/drawing/2014/main" id="{27125798-3616-4822-A510-41CD8D12493C}"/>
                  </a:ext>
                </a:extLst>
              </p:cNvPr>
              <p:cNvPicPr>
                <a:picLocks noChangeAspect="1"/>
              </p:cNvPicPr>
              <p:nvPr/>
            </p:nvPicPr>
            <p:blipFill>
              <a:blip r:embed="rId3"/>
              <a:stretch>
                <a:fillRect/>
              </a:stretch>
            </p:blipFill>
            <p:spPr>
              <a:xfrm>
                <a:off x="10281183" y="626616"/>
                <a:ext cx="1673352" cy="1347469"/>
              </a:xfrm>
              <a:prstGeom prst="ellipse">
                <a:avLst/>
              </a:prstGeom>
            </p:spPr>
          </p:pic>
        </p:grpSp>
        <p:sp>
          <p:nvSpPr>
            <p:cNvPr id="42" name="Rectangle 41">
              <a:extLst>
                <a:ext uri="{FF2B5EF4-FFF2-40B4-BE49-F238E27FC236}">
                  <a16:creationId xmlns:a16="http://schemas.microsoft.com/office/drawing/2014/main" id="{085AB343-34F9-4B92-BC5C-DB7706B14232}"/>
                </a:ext>
              </a:extLst>
            </p:cNvPr>
            <p:cNvSpPr/>
            <p:nvPr/>
          </p:nvSpPr>
          <p:spPr>
            <a:xfrm>
              <a:off x="2621661" y="1912602"/>
              <a:ext cx="7898383" cy="400110"/>
            </a:xfrm>
            <a:prstGeom prst="rect">
              <a:avLst/>
            </a:prstGeom>
          </p:spPr>
          <p:txBody>
            <a:bodyPr wrap="square">
              <a:spAutoFit/>
            </a:bodyPr>
            <a:lstStyle/>
            <a:p>
              <a:pPr>
                <a:spcBef>
                  <a:spcPts val="300"/>
                </a:spcBef>
                <a:spcAft>
                  <a:spcPts val="300"/>
                </a:spcAft>
              </a:pPr>
              <a:r>
                <a:rPr lang="en-US" sz="2000">
                  <a:cs typeface="Times"/>
                </a:rPr>
                <a:t>The ROUTES Office seeks to:</a:t>
              </a:r>
            </a:p>
          </p:txBody>
        </p:sp>
        <p:cxnSp>
          <p:nvCxnSpPr>
            <p:cNvPr id="46" name="Straight Connector 45">
              <a:extLst>
                <a:ext uri="{FF2B5EF4-FFF2-40B4-BE49-F238E27FC236}">
                  <a16:creationId xmlns:a16="http://schemas.microsoft.com/office/drawing/2014/main" id="{E148E95B-C8D1-426B-A075-75A453D8C379}"/>
                </a:ext>
              </a:extLst>
            </p:cNvPr>
            <p:cNvCxnSpPr>
              <a:cxnSpLocks/>
            </p:cNvCxnSpPr>
            <p:nvPr/>
          </p:nvCxnSpPr>
          <p:spPr>
            <a:xfrm flipH="1">
              <a:off x="2621661" y="2493644"/>
              <a:ext cx="1564" cy="3426702"/>
            </a:xfrm>
            <a:prstGeom prst="line">
              <a:avLst/>
            </a:prstGeom>
            <a:noFill/>
            <a:ln w="38100" cap="flat" cmpd="sng" algn="ctr">
              <a:solidFill>
                <a:srgbClr val="2E76BB"/>
              </a:solidFill>
              <a:prstDash val="solid"/>
            </a:ln>
            <a:effectLst/>
          </p:spPr>
        </p:cxnSp>
      </p:grpSp>
      <p:sp>
        <p:nvSpPr>
          <p:cNvPr id="18" name="Title 1">
            <a:extLst>
              <a:ext uri="{FF2B5EF4-FFF2-40B4-BE49-F238E27FC236}">
                <a16:creationId xmlns:a16="http://schemas.microsoft.com/office/drawing/2014/main" id="{5FAAA848-6D67-4E42-8EAE-F0155A719376}"/>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About the ROUTES Initiative</a:t>
            </a:r>
          </a:p>
        </p:txBody>
      </p:sp>
    </p:spTree>
    <p:extLst>
      <p:ext uri="{BB962C8B-B14F-4D97-AF65-F5344CB8AC3E}">
        <p14:creationId xmlns:p14="http://schemas.microsoft.com/office/powerpoint/2010/main" val="857635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AFF1E4-CF5F-4C98-ACB4-A827F7E48960}"/>
              </a:ext>
            </a:extLst>
          </p:cNvPr>
          <p:cNvSpPr>
            <a:spLocks noGrp="1"/>
          </p:cNvSpPr>
          <p:nvPr>
            <p:ph type="title"/>
          </p:nvPr>
        </p:nvSpPr>
        <p:spPr>
          <a:xfrm>
            <a:off x="166135" y="2634192"/>
            <a:ext cx="7253840" cy="1325563"/>
          </a:xfrm>
        </p:spPr>
        <p:txBody>
          <a:bodyPr/>
          <a:lstStyle/>
          <a:p>
            <a:r>
              <a:rPr lang="en-US" sz="4000" dirty="0">
                <a:latin typeface="+mj-lt"/>
              </a:rPr>
              <a:t>Resources and Technical Assistance</a:t>
            </a:r>
            <a:endParaRPr lang="en-US" sz="4000" i="1" dirty="0">
              <a:latin typeface="+mj-lt"/>
            </a:endParaRPr>
          </a:p>
        </p:txBody>
      </p:sp>
    </p:spTree>
    <p:extLst>
      <p:ext uri="{BB962C8B-B14F-4D97-AF65-F5344CB8AC3E}">
        <p14:creationId xmlns:p14="http://schemas.microsoft.com/office/powerpoint/2010/main" val="2866769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Travel_Border_4">
            <a:extLst>
              <a:ext uri="{FF2B5EF4-FFF2-40B4-BE49-F238E27FC236}">
                <a16:creationId xmlns:a16="http://schemas.microsoft.com/office/drawing/2014/main" id="{EED3B8A1-8A67-4195-9F8B-33C215CE1313}"/>
              </a:ext>
            </a:extLst>
          </p:cNvPr>
          <p:cNvGrpSpPr>
            <a:grpSpLocks noChangeAspect="1"/>
          </p:cNvGrpSpPr>
          <p:nvPr/>
        </p:nvGrpSpPr>
        <p:grpSpPr bwMode="auto">
          <a:xfrm>
            <a:off x="1524000" y="0"/>
            <a:ext cx="0" cy="0"/>
            <a:chOff x="5306" y="3201"/>
            <a:chExt cx="340" cy="340"/>
          </a:xfrm>
          <a:solidFill>
            <a:schemeClr val="accent1"/>
          </a:solidFill>
        </p:grpSpPr>
        <p:sp>
          <p:nvSpPr>
            <p:cNvPr id="15" name="Freeform 646">
              <a:extLst>
                <a:ext uri="{FF2B5EF4-FFF2-40B4-BE49-F238E27FC236}">
                  <a16:creationId xmlns:a16="http://schemas.microsoft.com/office/drawing/2014/main" id="{24D24175-37C4-493D-93D8-0315AFA118AF}"/>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647">
              <a:extLst>
                <a:ext uri="{FF2B5EF4-FFF2-40B4-BE49-F238E27FC236}">
                  <a16:creationId xmlns:a16="http://schemas.microsoft.com/office/drawing/2014/main" id="{4D7856C7-B89F-4A69-8FBC-5652DC64EACD}"/>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8" name="TextBox 17">
            <a:hlinkClick r:id="" action="ppaction://noaction"/>
            <a:extLst>
              <a:ext uri="{FF2B5EF4-FFF2-40B4-BE49-F238E27FC236}">
                <a16:creationId xmlns:a16="http://schemas.microsoft.com/office/drawing/2014/main" id="{4A6B253F-32BE-4BEC-8369-BE45E4FA6C5B}"/>
              </a:ext>
            </a:extLst>
          </p:cNvPr>
          <p:cNvSpPr txBox="1"/>
          <p:nvPr/>
        </p:nvSpPr>
        <p:spPr>
          <a:xfrm>
            <a:off x="1543050" y="924962"/>
            <a:ext cx="8466881" cy="24622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a:ln>
                  <a:noFill/>
                </a:ln>
                <a:solidFill>
                  <a:prstClr val="black"/>
                </a:solidFill>
                <a:effectLst/>
                <a:uLnTx/>
                <a:uFillTx/>
                <a:ea typeface="+mn-ea"/>
                <a:cs typeface="Segoe UI"/>
              </a:rPr>
              <a:t>The ROUTES website consolidates DOT’s rural resources in one </a:t>
            </a:r>
            <a:r>
              <a:rPr lang="en-US" sz="1600" b="1" kern="0">
                <a:solidFill>
                  <a:prstClr val="black"/>
                </a:solidFill>
                <a:cs typeface="Segoe UI"/>
              </a:rPr>
              <a:t>p</a:t>
            </a:r>
            <a:r>
              <a:rPr kumimoji="0" lang="en-US" sz="1600" b="1" u="none" strike="noStrike" kern="0" cap="none" spc="0" normalizeH="0" baseline="0" noProof="0">
                <a:ln>
                  <a:noFill/>
                </a:ln>
                <a:solidFill>
                  <a:prstClr val="black"/>
                </a:solidFill>
                <a:effectLst/>
                <a:uLnTx/>
                <a:uFillTx/>
                <a:ea typeface="+mn-ea"/>
                <a:cs typeface="Segoe UI"/>
              </a:rPr>
              <a:t>lace.</a:t>
            </a:r>
            <a:endParaRPr kumimoji="0" lang="en-US" sz="2800" b="0" u="none" strike="noStrike" kern="1200" cap="none" spc="0" normalizeH="0" baseline="0" noProof="0">
              <a:ln>
                <a:noFill/>
              </a:ln>
              <a:solidFill>
                <a:prstClr val="black"/>
              </a:solidFill>
              <a:effectLst/>
              <a:uLnTx/>
              <a:uFillTx/>
              <a:ea typeface="+mn-ea"/>
              <a:cs typeface="+mn-cs"/>
            </a:endParaRPr>
          </a:p>
        </p:txBody>
      </p:sp>
      <p:pic>
        <p:nvPicPr>
          <p:cNvPr id="3" name="Picture 2" descr="Graphical user interface, website&#10;&#10;Description automatically generated">
            <a:extLst>
              <a:ext uri="{FF2B5EF4-FFF2-40B4-BE49-F238E27FC236}">
                <a16:creationId xmlns:a16="http://schemas.microsoft.com/office/drawing/2014/main" id="{E339EE13-772F-4176-847C-21DBA795E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3162" y="1312576"/>
            <a:ext cx="4337197" cy="4723347"/>
          </a:xfrm>
          <a:prstGeom prst="rect">
            <a:avLst/>
          </a:prstGeom>
        </p:spPr>
      </p:pic>
      <p:sp>
        <p:nvSpPr>
          <p:cNvPr id="11" name="TextBox 10">
            <a:extLst>
              <a:ext uri="{FF2B5EF4-FFF2-40B4-BE49-F238E27FC236}">
                <a16:creationId xmlns:a16="http://schemas.microsoft.com/office/drawing/2014/main" id="{3588DDFB-926E-4AF3-9836-B185B37CB14C}"/>
              </a:ext>
            </a:extLst>
          </p:cNvPr>
          <p:cNvSpPr txBox="1"/>
          <p:nvPr/>
        </p:nvSpPr>
        <p:spPr>
          <a:xfrm>
            <a:off x="6421643" y="1301146"/>
            <a:ext cx="4732592" cy="5221942"/>
          </a:xfrm>
          <a:prstGeom prst="rect">
            <a:avLst/>
          </a:prstGeom>
          <a:noFill/>
        </p:spPr>
        <p:txBody>
          <a:bodyPr wrap="square" lIns="91440" tIns="45720" rIns="91440" bIns="45720" anchor="t">
            <a:spAutoFit/>
          </a:bodyPr>
          <a:lstStyle/>
          <a:p>
            <a:pPr marL="0" marR="0" lvl="0" indent="0" algn="l" defTabSz="1219170" rtl="0" eaLnBrk="1" fontAlgn="auto" latinLnBrk="0" hangingPunct="1">
              <a:lnSpc>
                <a:spcPct val="100000"/>
              </a:lnSpc>
              <a:spcBef>
                <a:spcPts val="0"/>
              </a:spcBef>
              <a:spcAft>
                <a:spcPts val="800"/>
              </a:spcAft>
              <a:buClrTx/>
              <a:buSzPct val="100000"/>
              <a:buFontTx/>
              <a:buNone/>
              <a:tabLst/>
              <a:defRPr/>
            </a:pPr>
            <a:r>
              <a:rPr kumimoji="0" lang="en-US" sz="1600" b="1" i="0" u="none" strike="noStrike" kern="1200" cap="none" normalizeH="0" noProof="0" dirty="0">
                <a:ln>
                  <a:noFill/>
                </a:ln>
                <a:solidFill>
                  <a:srgbClr val="0070C0"/>
                </a:solidFill>
                <a:effectLst/>
                <a:uLnTx/>
                <a:uFillTx/>
                <a:ea typeface="+mn-ea"/>
                <a:cs typeface="Segoe UI"/>
              </a:rPr>
              <a:t>Webinars</a:t>
            </a: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Benefit Cost Analyses for Rural Projects</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TIFIA Rural Projects Initiative</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Transit Resources</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lang="en-US" sz="1600" dirty="0">
                <a:cs typeface="Segoe UI"/>
              </a:rPr>
              <a:t>National Roadway Safety Strategy</a:t>
            </a:r>
            <a:endParaRPr lang="en-US" sz="1600" b="0" i="0" u="none" strike="noStrike" kern="1200" cap="none" spc="0" normalizeH="0" baseline="0" noProof="0" dirty="0">
              <a:ln>
                <a:noFill/>
              </a:ln>
              <a:effectLst/>
              <a:uLnTx/>
              <a:uFillTx/>
              <a:cs typeface="Segoe UI"/>
            </a:endParaRPr>
          </a:p>
          <a:p>
            <a:pPr marL="0" marR="0" lvl="0" indent="0" algn="l" defTabSz="1219170" rtl="0" eaLnBrk="1" fontAlgn="auto" latinLnBrk="0" hangingPunct="1">
              <a:lnSpc>
                <a:spcPct val="100000"/>
              </a:lnSpc>
              <a:spcBef>
                <a:spcPts val="0"/>
              </a:spcBef>
              <a:spcAft>
                <a:spcPts val="800"/>
              </a:spcAft>
              <a:buClrTx/>
              <a:buSzPct val="100000"/>
              <a:buFontTx/>
              <a:buNone/>
              <a:tabLst/>
              <a:defRPr/>
            </a:pPr>
            <a:r>
              <a:rPr kumimoji="0" lang="en-US" sz="1600" b="1" i="0" u="none" strike="noStrike" kern="1200" cap="none" normalizeH="0" noProof="0" dirty="0">
                <a:ln>
                  <a:noFill/>
                </a:ln>
                <a:solidFill>
                  <a:srgbClr val="2E76BB"/>
                </a:solidFill>
                <a:effectLst/>
                <a:uLnTx/>
                <a:uFillTx/>
                <a:ea typeface="+mn-ea"/>
                <a:cs typeface="Segoe UI"/>
              </a:rPr>
              <a:t>Tools and Toolkits</a:t>
            </a:r>
            <a:endParaRPr lang="en-US" sz="1600" b="1" i="0" u="none" strike="noStrike" kern="1200" cap="none" normalizeH="0" noProof="0" dirty="0">
              <a:ln>
                <a:noFill/>
              </a:ln>
              <a:solidFill>
                <a:srgbClr val="2E76BB"/>
              </a:solidFill>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Rural Eligibility Map</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Point of Contact Map</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lang="en-US" sz="1600" dirty="0">
                <a:cs typeface="Segoe UI"/>
              </a:rPr>
              <a:t>Grant Applicant Toolkit</a:t>
            </a: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Rural EV Infrastructure Toolkit</a:t>
            </a:r>
            <a:endParaRPr lang="en-US" sz="1600" b="0" i="0" u="none" strike="noStrike" kern="1200" cap="none" spc="0" normalizeH="0" baseline="0" noProof="0" dirty="0">
              <a:ln>
                <a:noFill/>
              </a:ln>
              <a:effectLst/>
              <a:uLnTx/>
              <a:uFillTx/>
              <a:cs typeface="Segoe UI"/>
            </a:endParaRPr>
          </a:p>
          <a:p>
            <a:pPr marL="0" marR="0" lvl="0" indent="0" algn="l" defTabSz="1219170" rtl="0" eaLnBrk="1" fontAlgn="auto" latinLnBrk="0" hangingPunct="1">
              <a:lnSpc>
                <a:spcPct val="100000"/>
              </a:lnSpc>
              <a:spcBef>
                <a:spcPts val="0"/>
              </a:spcBef>
              <a:spcAft>
                <a:spcPts val="800"/>
              </a:spcAft>
              <a:buClrTx/>
              <a:buSzPct val="100000"/>
              <a:buFontTx/>
              <a:buNone/>
              <a:tabLst/>
              <a:defRPr/>
            </a:pPr>
            <a:r>
              <a:rPr kumimoji="0" lang="en-US" sz="1600" b="1" i="0" u="none" strike="noStrike" kern="1200" cap="none" normalizeH="0" noProof="0" dirty="0">
                <a:ln>
                  <a:noFill/>
                </a:ln>
                <a:solidFill>
                  <a:srgbClr val="0070C0"/>
                </a:solidFill>
                <a:effectLst/>
                <a:uLnTx/>
                <a:uFillTx/>
                <a:ea typeface="+mn-ea"/>
                <a:cs typeface="Segoe UI"/>
              </a:rPr>
              <a:t>Funding Opportunities</a:t>
            </a:r>
            <a:endParaRPr lang="en-US" sz="1600" b="1" i="0" u="none" strike="noStrike" kern="1200" cap="none" normalizeH="0" noProof="0" dirty="0">
              <a:ln>
                <a:noFill/>
              </a:ln>
              <a:solidFill>
                <a:srgbClr val="0070C0"/>
              </a:solidFill>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Active &amp; Upcoming NOFOs</a:t>
            </a:r>
            <a:endParaRPr lang="en-US" sz="1600" b="0" i="0" u="none" strike="noStrike" kern="1200" cap="none" spc="0" normalizeH="0" baseline="0" noProof="0" dirty="0">
              <a:ln>
                <a:noFill/>
              </a:ln>
              <a:effectLst/>
              <a:uLnTx/>
              <a:uFillTx/>
              <a:cs typeface="Segoe UI"/>
            </a:endParaRPr>
          </a:p>
          <a:p>
            <a:pPr marL="285750" marR="0" lvl="0" indent="-285750" algn="l" defTabSz="1219170" rtl="0" eaLnBrk="1" fontAlgn="auto" latinLnBrk="0" hangingPunct="1">
              <a:lnSpc>
                <a:spcPct val="100000"/>
              </a:lnSpc>
              <a:spcBef>
                <a:spcPts val="0"/>
              </a:spcBef>
              <a:spcAft>
                <a:spcPts val="80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effectLst/>
                <a:uLnTx/>
                <a:uFillTx/>
                <a:cs typeface="Segoe UI"/>
              </a:rPr>
              <a:t>Links to Past Awards</a:t>
            </a:r>
            <a:endParaRPr lang="en-US" sz="1600" b="0" i="0" u="none" strike="noStrike" kern="1200" cap="none" spc="0" normalizeH="0" baseline="0" noProof="0" dirty="0">
              <a:ln>
                <a:noFill/>
              </a:ln>
              <a:effectLst/>
              <a:uLnTx/>
              <a:uFillTx/>
              <a:cs typeface="Segoe UI"/>
            </a:endParaRPr>
          </a:p>
          <a:p>
            <a:pPr defTabSz="1219170">
              <a:spcAft>
                <a:spcPts val="800"/>
              </a:spcAft>
              <a:buSzPct val="100000"/>
              <a:defRPr/>
            </a:pPr>
            <a:r>
              <a:rPr kumimoji="0" lang="en-US" sz="1600" b="1" i="0" u="none" strike="noStrike" kern="1200" cap="none" normalizeH="0" noProof="0" dirty="0">
                <a:ln>
                  <a:noFill/>
                </a:ln>
                <a:solidFill>
                  <a:srgbClr val="0070C0"/>
                </a:solidFill>
                <a:effectLst/>
                <a:uLnTx/>
                <a:uFillTx/>
                <a:ea typeface="+mn-ea"/>
                <a:cs typeface="Segoe UI"/>
              </a:rPr>
              <a:t>Modal Specific Landing Pages</a:t>
            </a:r>
            <a:r>
              <a:rPr lang="en-US" sz="1600" b="1" dirty="0">
                <a:solidFill>
                  <a:srgbClr val="0070C0"/>
                </a:solidFill>
                <a:cs typeface="Segoe UI"/>
              </a:rPr>
              <a:t> </a:t>
            </a:r>
          </a:p>
          <a:p>
            <a:pPr marL="0" marR="0" lvl="0" indent="0" algn="l" defTabSz="1219170" rtl="0" eaLnBrk="1" fontAlgn="auto" latinLnBrk="0" hangingPunct="1">
              <a:lnSpc>
                <a:spcPct val="100000"/>
              </a:lnSpc>
              <a:spcBef>
                <a:spcPts val="0"/>
              </a:spcBef>
              <a:spcAft>
                <a:spcPts val="800"/>
              </a:spcAft>
              <a:buClrTx/>
              <a:buSzPct val="100000"/>
              <a:buFontTx/>
              <a:buNone/>
              <a:tabLst/>
              <a:defRPr/>
            </a:pPr>
            <a:r>
              <a:rPr lang="en-US" sz="1600" b="1" dirty="0">
                <a:solidFill>
                  <a:srgbClr val="0070C0"/>
                </a:solidFill>
                <a:cs typeface="Segoe UI"/>
              </a:rPr>
              <a:t>Monthly</a:t>
            </a:r>
            <a:r>
              <a:rPr kumimoji="0" lang="en-US" sz="1600" b="1" i="0" u="none" strike="noStrike" kern="1200" cap="none" normalizeH="0" noProof="0" dirty="0">
                <a:ln>
                  <a:noFill/>
                </a:ln>
                <a:solidFill>
                  <a:srgbClr val="0070C0"/>
                </a:solidFill>
                <a:effectLst/>
                <a:uLnTx/>
                <a:uFillTx/>
                <a:ea typeface="+mn-ea"/>
                <a:cs typeface="Segoe UI"/>
              </a:rPr>
              <a:t> Newsletters</a:t>
            </a:r>
            <a:endParaRPr lang="en-US" sz="1600" b="1" i="0" u="none" strike="noStrike" kern="1200" cap="none" normalizeH="0" noProof="0" dirty="0">
              <a:ln>
                <a:noFill/>
              </a:ln>
              <a:solidFill>
                <a:srgbClr val="0070C0"/>
              </a:solidFill>
              <a:effectLst/>
              <a:uLnTx/>
              <a:uFillTx/>
              <a:cs typeface="Segoe UI"/>
            </a:endParaRPr>
          </a:p>
        </p:txBody>
      </p:sp>
      <p:cxnSp>
        <p:nvCxnSpPr>
          <p:cNvPr id="9" name="Straight Connector 8">
            <a:extLst>
              <a:ext uri="{FF2B5EF4-FFF2-40B4-BE49-F238E27FC236}">
                <a16:creationId xmlns:a16="http://schemas.microsoft.com/office/drawing/2014/main" id="{CD10FF36-FF1D-4196-A2C6-3DAE024FC414}"/>
              </a:ext>
            </a:extLst>
          </p:cNvPr>
          <p:cNvCxnSpPr>
            <a:cxnSpLocks/>
          </p:cNvCxnSpPr>
          <p:nvPr/>
        </p:nvCxnSpPr>
        <p:spPr>
          <a:xfrm flipH="1">
            <a:off x="6096000" y="1312576"/>
            <a:ext cx="3810" cy="5116799"/>
          </a:xfrm>
          <a:prstGeom prst="line">
            <a:avLst/>
          </a:prstGeom>
          <a:noFill/>
          <a:ln w="38100" cap="flat" cmpd="sng" algn="ctr">
            <a:solidFill>
              <a:srgbClr val="2E76BB"/>
            </a:solidFill>
            <a:prstDash val="solid"/>
          </a:ln>
          <a:effectLst/>
        </p:spPr>
      </p:cxnSp>
      <p:sp>
        <p:nvSpPr>
          <p:cNvPr id="10" name="Title 1">
            <a:extLst>
              <a:ext uri="{FF2B5EF4-FFF2-40B4-BE49-F238E27FC236}">
                <a16:creationId xmlns:a16="http://schemas.microsoft.com/office/drawing/2014/main" id="{7572D065-8BB8-4EFA-BEFD-72BFC47BC4CB}"/>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One-Stop-Shop for Rural Resources</a:t>
            </a:r>
          </a:p>
        </p:txBody>
      </p:sp>
      <p:pic>
        <p:nvPicPr>
          <p:cNvPr id="2" name="Picture 1">
            <a:extLst>
              <a:ext uri="{FF2B5EF4-FFF2-40B4-BE49-F238E27FC236}">
                <a16:creationId xmlns:a16="http://schemas.microsoft.com/office/drawing/2014/main" id="{DACA536F-37FB-11EC-8C3E-49C78DAB8E67}"/>
              </a:ext>
            </a:extLst>
          </p:cNvPr>
          <p:cNvPicPr>
            <a:picLocks noChangeAspect="1"/>
          </p:cNvPicPr>
          <p:nvPr/>
        </p:nvPicPr>
        <p:blipFill>
          <a:blip r:embed="rId4"/>
          <a:stretch>
            <a:fillRect/>
          </a:stretch>
        </p:blipFill>
        <p:spPr>
          <a:xfrm>
            <a:off x="10158333" y="4830580"/>
            <a:ext cx="2031168" cy="2031168"/>
          </a:xfrm>
          <a:prstGeom prst="rect">
            <a:avLst/>
          </a:prstGeom>
        </p:spPr>
      </p:pic>
    </p:spTree>
    <p:extLst>
      <p:ext uri="{BB962C8B-B14F-4D97-AF65-F5344CB8AC3E}">
        <p14:creationId xmlns:p14="http://schemas.microsoft.com/office/powerpoint/2010/main" val="3708523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3" name="TextBox 12">
            <a:hlinkClick r:id="" action="ppaction://noaction"/>
            <a:extLst>
              <a:ext uri="{FF2B5EF4-FFF2-40B4-BE49-F238E27FC236}">
                <a16:creationId xmlns:a16="http://schemas.microsoft.com/office/drawing/2014/main" id="{15B190CC-AF2D-417D-BB96-41C107832661}"/>
              </a:ext>
            </a:extLst>
          </p:cNvPr>
          <p:cNvSpPr txBox="1"/>
          <p:nvPr/>
        </p:nvSpPr>
        <p:spPr>
          <a:xfrm>
            <a:off x="1522228" y="928555"/>
            <a:ext cx="9116178"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prstClr val="black"/>
                </a:solidFill>
                <a:effectLst/>
                <a:uLnTx/>
                <a:uFillTx/>
                <a:ea typeface="+mn-ea"/>
                <a:cs typeface="Segoe UI" panose="020B0502040204020203" pitchFamily="34" charset="0"/>
              </a:rPr>
              <a:t>Charging Forward: A Toolkit for Planning and Funding Rural Electric Mobility Infrastructure </a:t>
            </a:r>
            <a:r>
              <a:rPr kumimoji="0" lang="en-US" sz="1600" b="1" u="none" strike="noStrike" kern="0" cap="none" spc="0" normalizeH="0" baseline="0" noProof="0">
                <a:ln>
                  <a:noFill/>
                </a:ln>
                <a:solidFill>
                  <a:prstClr val="black"/>
                </a:solidFill>
                <a:effectLst/>
                <a:uLnTx/>
                <a:uFillTx/>
                <a:ea typeface="+mn-ea"/>
                <a:cs typeface="Segoe UI" panose="020B0502040204020203" pitchFamily="34" charset="0"/>
              </a:rPr>
              <a:t>helps rural stakeholders scope, plan, and fund electric vehicle charging infrastructure. </a:t>
            </a:r>
          </a:p>
        </p:txBody>
      </p:sp>
      <p:sp>
        <p:nvSpPr>
          <p:cNvPr id="12" name="Title 1">
            <a:extLst>
              <a:ext uri="{FF2B5EF4-FFF2-40B4-BE49-F238E27FC236}">
                <a16:creationId xmlns:a16="http://schemas.microsoft.com/office/drawing/2014/main" id="{7DE2FAE4-8988-4448-8C93-0696156AABCF}"/>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Rural EV Infrastructure Toolkit</a:t>
            </a:r>
          </a:p>
        </p:txBody>
      </p:sp>
      <p:sp>
        <p:nvSpPr>
          <p:cNvPr id="11" name="TextBox 10">
            <a:extLst>
              <a:ext uri="{FF2B5EF4-FFF2-40B4-BE49-F238E27FC236}">
                <a16:creationId xmlns:a16="http://schemas.microsoft.com/office/drawing/2014/main" id="{CC39C999-2275-47B0-B5F1-783842D4541E}"/>
              </a:ext>
            </a:extLst>
          </p:cNvPr>
          <p:cNvSpPr txBox="1"/>
          <p:nvPr/>
        </p:nvSpPr>
        <p:spPr>
          <a:xfrm>
            <a:off x="622085" y="1869633"/>
            <a:ext cx="3447891" cy="4093428"/>
          </a:xfrm>
          <a:prstGeom prst="rect">
            <a:avLst/>
          </a:prstGeom>
          <a:noFill/>
        </p:spPr>
        <p:txBody>
          <a:bodyPr wrap="square" lIns="0" tIns="0" rIns="0" bIns="0" rtlCol="0" anchor="t">
            <a:spAutoFit/>
          </a:bodyPr>
          <a:lstStyle/>
          <a:p>
            <a:pPr>
              <a:spcBef>
                <a:spcPts val="300"/>
              </a:spcBef>
              <a:spcAft>
                <a:spcPts val="300"/>
              </a:spcAft>
              <a:buSzPct val="100000"/>
            </a:pPr>
            <a:r>
              <a:rPr lang="en-US" sz="1600" b="1" spc="300">
                <a:solidFill>
                  <a:srgbClr val="2E76BB"/>
                </a:solidFill>
                <a:latin typeface="Segoe UI" panose="020B0502040204020203" pitchFamily="34" charset="0"/>
                <a:cs typeface="Segoe UI" panose="020B0502040204020203" pitchFamily="34" charset="0"/>
              </a:rPr>
              <a:t>TABLE OF CONTENTS</a:t>
            </a:r>
          </a:p>
          <a:p>
            <a:pPr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Electric Vehicle Basics</a:t>
            </a:r>
          </a:p>
          <a:p>
            <a:pPr marL="285750"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Benefits and Challenges of Rural Vehicle Electrification</a:t>
            </a:r>
          </a:p>
          <a:p>
            <a:pPr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Partnership Opportunities</a:t>
            </a:r>
          </a:p>
          <a:p>
            <a:pPr marL="285750"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EV Infrastructure Planning for Rural Areas</a:t>
            </a:r>
          </a:p>
          <a:p>
            <a:pPr marL="285750"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EV Infrastructure Funding and Financing for Rural Areas</a:t>
            </a:r>
          </a:p>
          <a:p>
            <a:pPr>
              <a:spcBef>
                <a:spcPts val="300"/>
              </a:spcBef>
              <a:spcAft>
                <a:spcPts val="300"/>
              </a:spcAft>
              <a:buSzPct val="100000"/>
            </a:pPr>
            <a:endParaRPr lang="en-US" sz="1600">
              <a:latin typeface="Segoe UI" panose="020B0502040204020203" pitchFamily="34" charset="0"/>
              <a:cs typeface="Segoe UI" panose="020B0502040204020203" pitchFamily="34" charset="0"/>
            </a:endParaRPr>
          </a:p>
          <a:p>
            <a:pPr>
              <a:spcBef>
                <a:spcPts val="300"/>
              </a:spcBef>
              <a:spcAft>
                <a:spcPts val="300"/>
              </a:spcAft>
              <a:buSzPct val="100000"/>
            </a:pPr>
            <a:r>
              <a:rPr lang="en-US" sz="1600" b="1" spc="300">
                <a:solidFill>
                  <a:srgbClr val="2E76BB"/>
                </a:solidFill>
                <a:latin typeface="Segoe UI" panose="020B0502040204020203" pitchFamily="34" charset="0"/>
                <a:cs typeface="Segoe UI" panose="020B0502040204020203" pitchFamily="34" charset="0"/>
              </a:rPr>
              <a:t>INCLUDES…</a:t>
            </a:r>
          </a:p>
          <a:p>
            <a:pPr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Grant and loan opportunities</a:t>
            </a:r>
          </a:p>
          <a:p>
            <a:pPr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Planning tools and resources</a:t>
            </a:r>
          </a:p>
          <a:p>
            <a:pPr indent="-285750">
              <a:spcBef>
                <a:spcPts val="300"/>
              </a:spcBef>
              <a:spcAft>
                <a:spcPts val="300"/>
              </a:spcAft>
              <a:buSzPct val="100000"/>
              <a:buFont typeface="Arial" panose="020B0604020202020204" pitchFamily="34" charset="0"/>
              <a:buChar char="•"/>
            </a:pPr>
            <a:r>
              <a:rPr lang="en-US" sz="1500">
                <a:cs typeface="Calibri" panose="020F0502020204030204" pitchFamily="34" charset="0"/>
              </a:rPr>
              <a:t>Rural success stories</a:t>
            </a:r>
          </a:p>
        </p:txBody>
      </p:sp>
      <p:pic>
        <p:nvPicPr>
          <p:cNvPr id="14" name="Picture 13">
            <a:extLst>
              <a:ext uri="{FF2B5EF4-FFF2-40B4-BE49-F238E27FC236}">
                <a16:creationId xmlns:a16="http://schemas.microsoft.com/office/drawing/2014/main" id="{7EE42240-CDC5-4912-A1EA-E09B3A23AC0D}"/>
              </a:ext>
            </a:extLst>
          </p:cNvPr>
          <p:cNvPicPr>
            <a:picLocks noChangeAspect="1"/>
          </p:cNvPicPr>
          <p:nvPr/>
        </p:nvPicPr>
        <p:blipFill>
          <a:blip r:embed="rId3"/>
          <a:stretch>
            <a:fillRect/>
          </a:stretch>
        </p:blipFill>
        <p:spPr>
          <a:xfrm>
            <a:off x="9007849" y="1394944"/>
            <a:ext cx="2890153" cy="3730752"/>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1CA08451-F210-4B84-B106-8E1D6EF8BEAD}"/>
              </a:ext>
            </a:extLst>
          </p:cNvPr>
          <p:cNvSpPr txBox="1"/>
          <p:nvPr/>
        </p:nvSpPr>
        <p:spPr>
          <a:xfrm>
            <a:off x="4177549" y="1870401"/>
            <a:ext cx="4412915" cy="4016484"/>
          </a:xfrm>
          <a:prstGeom prst="rect">
            <a:avLst/>
          </a:prstGeom>
          <a:noFill/>
        </p:spPr>
        <p:txBody>
          <a:bodyPr wrap="square" lIns="0" tIns="0" rIns="0" bIns="0" rtlCol="0" anchor="t">
            <a:spAutoFit/>
          </a:bodyPr>
          <a:lstStyle/>
          <a:p>
            <a:pPr>
              <a:spcBef>
                <a:spcPts val="300"/>
              </a:spcBef>
              <a:spcAft>
                <a:spcPts val="300"/>
              </a:spcAft>
              <a:buSzPct val="100000"/>
            </a:pPr>
            <a:r>
              <a:rPr lang="en-US" sz="1600" b="1" spc="300">
                <a:solidFill>
                  <a:srgbClr val="2E76BB"/>
                </a:solidFill>
                <a:latin typeface="Segoe UI"/>
                <a:cs typeface="Segoe UI"/>
              </a:rPr>
              <a:t>UPDATED (MAY 2023)</a:t>
            </a:r>
            <a:endParaRPr lang="en-US" sz="1600" b="1" spc="300">
              <a:solidFill>
                <a:srgbClr val="FF0000"/>
              </a:solidFill>
              <a:latin typeface="Segoe UI"/>
              <a:cs typeface="Segoe UI"/>
            </a:endParaRPr>
          </a:p>
          <a:p>
            <a:pPr marL="285750" indent="-285750">
              <a:spcBef>
                <a:spcPts val="300"/>
              </a:spcBef>
              <a:spcAft>
                <a:spcPts val="300"/>
              </a:spcAft>
              <a:buSzPct val="100000"/>
              <a:buFont typeface="Arial" panose="020B0604020202020204" pitchFamily="34" charset="0"/>
              <a:buChar char="•"/>
            </a:pPr>
            <a:r>
              <a:rPr lang="en-US" sz="1500">
                <a:cs typeface="Calibri"/>
              </a:rPr>
              <a:t>Stakeholder feedback</a:t>
            </a:r>
          </a:p>
          <a:p>
            <a:pPr marL="285750" indent="-285750">
              <a:spcBef>
                <a:spcPts val="300"/>
              </a:spcBef>
              <a:spcAft>
                <a:spcPts val="300"/>
              </a:spcAft>
              <a:buSzPct val="100000"/>
              <a:buFont typeface="Arial" panose="020B0604020202020204" pitchFamily="34" charset="0"/>
              <a:buChar char="•"/>
            </a:pPr>
            <a:r>
              <a:rPr lang="en-US" sz="1500">
                <a:cs typeface="Calibri"/>
              </a:rPr>
              <a:t>Expanded content on</a:t>
            </a:r>
          </a:p>
          <a:p>
            <a:pPr marL="894715" lvl="1" indent="-285750">
              <a:spcBef>
                <a:spcPts val="300"/>
              </a:spcBef>
              <a:spcAft>
                <a:spcPts val="300"/>
              </a:spcAft>
              <a:buSzPct val="100000"/>
              <a:buFont typeface="Courier New" panose="02070309020205020404" pitchFamily="49" charset="0"/>
              <a:buChar char="o"/>
            </a:pPr>
            <a:r>
              <a:rPr lang="en-US" sz="1500">
                <a:cs typeface="Calibri"/>
              </a:rPr>
              <a:t>Transit vehicles</a:t>
            </a:r>
          </a:p>
          <a:p>
            <a:pPr marL="894715" lvl="1" indent="-285750">
              <a:spcBef>
                <a:spcPts val="300"/>
              </a:spcBef>
              <a:spcAft>
                <a:spcPts val="300"/>
              </a:spcAft>
              <a:buSzPct val="100000"/>
              <a:buFont typeface="Courier New" panose="02070309020205020404" pitchFamily="49" charset="0"/>
              <a:buChar char="o"/>
            </a:pPr>
            <a:r>
              <a:rPr lang="en-US" sz="1500">
                <a:cs typeface="Calibri"/>
              </a:rPr>
              <a:t>School buses</a:t>
            </a:r>
          </a:p>
          <a:p>
            <a:pPr marL="894715" lvl="1" indent="-285750">
              <a:spcBef>
                <a:spcPts val="300"/>
              </a:spcBef>
              <a:spcAft>
                <a:spcPts val="300"/>
              </a:spcAft>
              <a:buSzPct val="100000"/>
              <a:buFont typeface="Courier New" panose="02070309020205020404" pitchFamily="49" charset="0"/>
              <a:buChar char="o"/>
            </a:pPr>
            <a:r>
              <a:rPr lang="en-US" sz="1500" err="1">
                <a:cs typeface="Calibri" panose="020F0502020204030204" pitchFamily="34" charset="0"/>
              </a:rPr>
              <a:t>Micromobility</a:t>
            </a:r>
            <a:endParaRPr lang="en-US" sz="1500">
              <a:cs typeface="Calibri" panose="020F0502020204030204" pitchFamily="34" charset="0"/>
            </a:endParaRPr>
          </a:p>
          <a:p>
            <a:pPr marL="894715" lvl="1" indent="-285750">
              <a:spcBef>
                <a:spcPts val="300"/>
              </a:spcBef>
              <a:spcAft>
                <a:spcPts val="300"/>
              </a:spcAft>
              <a:buSzPct val="100000"/>
              <a:buFont typeface="Courier New" panose="02070309020205020404" pitchFamily="49" charset="0"/>
              <a:buChar char="o"/>
            </a:pPr>
            <a:r>
              <a:rPr lang="en-US" sz="1500">
                <a:cs typeface="Calibri"/>
              </a:rPr>
              <a:t>Accessible design</a:t>
            </a:r>
          </a:p>
          <a:p>
            <a:pPr marL="285750" indent="-285750">
              <a:spcBef>
                <a:spcPts val="300"/>
              </a:spcBef>
              <a:spcAft>
                <a:spcPts val="300"/>
              </a:spcAft>
              <a:buSzPct val="100000"/>
              <a:buFont typeface="Arial" panose="020B0604020202020204" pitchFamily="34" charset="0"/>
              <a:buChar char="•"/>
            </a:pPr>
            <a:r>
              <a:rPr lang="en-US" sz="1500">
                <a:cs typeface="Calibri"/>
              </a:rPr>
              <a:t>New funding programs, including the Bipartisan Infrastructure Law (BIL)</a:t>
            </a:r>
          </a:p>
          <a:p>
            <a:pPr marL="894715" lvl="1" indent="-285750">
              <a:spcBef>
                <a:spcPts val="300"/>
              </a:spcBef>
              <a:spcAft>
                <a:spcPts val="300"/>
              </a:spcAft>
              <a:buSzPct val="100000"/>
              <a:buFont typeface="Courier New" panose="02070309020205020404" pitchFamily="49" charset="0"/>
              <a:buChar char="o"/>
            </a:pPr>
            <a:r>
              <a:rPr lang="en-US" sz="1500">
                <a:cs typeface="Calibri"/>
              </a:rPr>
              <a:t>National Electric Vehicle Infrastructure Formula Program ($5 billion)</a:t>
            </a:r>
          </a:p>
          <a:p>
            <a:pPr marL="894715" lvl="1" indent="-285750">
              <a:spcBef>
                <a:spcPts val="300"/>
              </a:spcBef>
              <a:spcAft>
                <a:spcPts val="300"/>
              </a:spcAft>
              <a:buSzPct val="100000"/>
              <a:buFont typeface="Courier New" panose="02070309020205020404" pitchFamily="49" charset="0"/>
              <a:buChar char="o"/>
            </a:pPr>
            <a:r>
              <a:rPr lang="en-US" sz="1500">
                <a:cs typeface="Calibri"/>
              </a:rPr>
              <a:t>Discretionary Grant Program for Charging and Fueling Infrastructure ($2.5 billion)</a:t>
            </a:r>
          </a:p>
          <a:p>
            <a:pPr marL="894715" lvl="1" indent="-285750">
              <a:spcBef>
                <a:spcPts val="300"/>
              </a:spcBef>
              <a:spcAft>
                <a:spcPts val="300"/>
              </a:spcAft>
              <a:buSzPct val="100000"/>
              <a:buFont typeface="Courier New" panose="02070309020205020404" pitchFamily="49" charset="0"/>
              <a:buChar char="o"/>
            </a:pPr>
            <a:r>
              <a:rPr lang="en-US" sz="1500">
                <a:cs typeface="Calibri"/>
              </a:rPr>
              <a:t>Clean School Bus Program ($5 billion)</a:t>
            </a:r>
          </a:p>
        </p:txBody>
      </p:sp>
      <p:pic>
        <p:nvPicPr>
          <p:cNvPr id="2" name="Picture 1">
            <a:extLst>
              <a:ext uri="{FF2B5EF4-FFF2-40B4-BE49-F238E27FC236}">
                <a16:creationId xmlns:a16="http://schemas.microsoft.com/office/drawing/2014/main" id="{5D2CB8B3-54AD-080F-D0E2-BE86D6913023}"/>
              </a:ext>
            </a:extLst>
          </p:cNvPr>
          <p:cNvPicPr>
            <a:picLocks noChangeAspect="1"/>
          </p:cNvPicPr>
          <p:nvPr/>
        </p:nvPicPr>
        <p:blipFill>
          <a:blip r:embed="rId4"/>
          <a:stretch>
            <a:fillRect/>
          </a:stretch>
        </p:blipFill>
        <p:spPr>
          <a:xfrm>
            <a:off x="10320729" y="5267793"/>
            <a:ext cx="1631429" cy="1593954"/>
          </a:xfrm>
          <a:prstGeom prst="rect">
            <a:avLst/>
          </a:prstGeom>
        </p:spPr>
      </p:pic>
    </p:spTree>
    <p:extLst>
      <p:ext uri="{BB962C8B-B14F-4D97-AF65-F5344CB8AC3E}">
        <p14:creationId xmlns:p14="http://schemas.microsoft.com/office/powerpoint/2010/main" val="1527219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42E5AF1-FA73-3336-A1E5-013B264B51F0}"/>
              </a:ext>
            </a:extLst>
          </p:cNvPr>
          <p:cNvSpPr txBox="1">
            <a:spLocks/>
          </p:cNvSpPr>
          <p:nvPr/>
        </p:nvSpPr>
        <p:spPr>
          <a:xfrm>
            <a:off x="838200" y="141767"/>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dirty="0">
                <a:cs typeface="Times"/>
              </a:rPr>
              <a:t>Key EV Federal Funding Programs</a:t>
            </a:r>
          </a:p>
        </p:txBody>
      </p:sp>
      <p:sp>
        <p:nvSpPr>
          <p:cNvPr id="6" name="Rectangle 5">
            <a:extLst>
              <a:ext uri="{FF2B5EF4-FFF2-40B4-BE49-F238E27FC236}">
                <a16:creationId xmlns:a16="http://schemas.microsoft.com/office/drawing/2014/main" id="{EB1E2E1F-E054-FB3E-F5AC-5933E145CC63}"/>
              </a:ext>
            </a:extLst>
          </p:cNvPr>
          <p:cNvSpPr/>
          <p:nvPr/>
        </p:nvSpPr>
        <p:spPr bwMode="gray">
          <a:xfrm>
            <a:off x="671301" y="1374568"/>
            <a:ext cx="5084273" cy="4734913"/>
          </a:xfrm>
          <a:prstGeom prst="rect">
            <a:avLst/>
          </a:prstGeom>
          <a:solidFill>
            <a:srgbClr val="FFFFFF"/>
          </a:solidFill>
          <a:ln w="19050" algn="ctr">
            <a:noFill/>
            <a:miter lim="800000"/>
            <a:headEnd/>
            <a:tailEnd/>
          </a:ln>
          <a:effectLst/>
        </p:spPr>
        <p:txBody>
          <a:bodyPr wrap="square" lIns="88900" tIns="88900" rIns="88900" bIns="88900" rtlCol="0" anchor="t"/>
          <a:lstStyle/>
          <a:p>
            <a:pPr>
              <a:lnSpc>
                <a:spcPct val="106000"/>
              </a:lnSpc>
              <a:spcAft>
                <a:spcPts val="300"/>
              </a:spcAft>
            </a:pPr>
            <a:r>
              <a:rPr lang="en-US" sz="1600" b="1" spc="300" dirty="0">
                <a:solidFill>
                  <a:srgbClr val="2E76BB"/>
                </a:solidFill>
                <a:latin typeface="Segoe UI"/>
                <a:cs typeface="Segoe UI"/>
              </a:rPr>
              <a:t>DEPARTMENT OF TRANSPORTATION</a:t>
            </a:r>
          </a:p>
          <a:p>
            <a:pPr>
              <a:lnSpc>
                <a:spcPct val="106000"/>
              </a:lnSpc>
              <a:spcAft>
                <a:spcPts val="300"/>
              </a:spcAft>
            </a:pPr>
            <a:r>
              <a:rPr lang="en-US" sz="1400" b="1" dirty="0">
                <a:latin typeface="Segoe UI"/>
                <a:cs typeface="Segoe UI"/>
              </a:rPr>
              <a:t>Federal Highway Administration</a:t>
            </a:r>
          </a:p>
          <a:p>
            <a:pPr marL="285750" indent="-285750">
              <a:lnSpc>
                <a:spcPct val="106000"/>
              </a:lnSpc>
              <a:spcAft>
                <a:spcPts val="300"/>
              </a:spcAft>
              <a:buFont typeface="Arial" panose="020B0604020202020204" pitchFamily="34" charset="0"/>
              <a:buChar char="•"/>
            </a:pPr>
            <a:r>
              <a:rPr lang="en-US" sz="1200" dirty="0">
                <a:latin typeface="Segoe UI"/>
                <a:cs typeface="Segoe UI"/>
              </a:rPr>
              <a:t>National Electric Vehicle Infrastructure (NEVI) Program</a:t>
            </a:r>
          </a:p>
          <a:p>
            <a:pPr marL="285750" indent="-285750">
              <a:lnSpc>
                <a:spcPct val="106000"/>
              </a:lnSpc>
              <a:spcAft>
                <a:spcPts val="300"/>
              </a:spcAft>
              <a:buFont typeface="Arial" panose="020B0604020202020204" pitchFamily="34" charset="0"/>
              <a:buChar char="•"/>
            </a:pPr>
            <a:r>
              <a:rPr lang="en-US" sz="1200" dirty="0">
                <a:highlight>
                  <a:srgbClr val="FFFF00"/>
                </a:highlight>
                <a:latin typeface="Segoe UI"/>
                <a:cs typeface="Segoe UI"/>
              </a:rPr>
              <a:t>Charging and Fueling Infrastructure (CFI) Discretionary Grant Program</a:t>
            </a:r>
          </a:p>
          <a:p>
            <a:pPr marL="285750" indent="-285750">
              <a:lnSpc>
                <a:spcPct val="106000"/>
              </a:lnSpc>
              <a:spcAft>
                <a:spcPts val="300"/>
              </a:spcAft>
              <a:buFont typeface="Arial" panose="020B0604020202020204" pitchFamily="34" charset="0"/>
              <a:buChar char="•"/>
            </a:pPr>
            <a:r>
              <a:rPr lang="en-US" sz="1200" dirty="0">
                <a:latin typeface="Segoe UI"/>
                <a:cs typeface="Segoe UI"/>
              </a:rPr>
              <a:t>Congestion Mitigation and Air Quality Improvement (CMAQ) program</a:t>
            </a:r>
          </a:p>
          <a:p>
            <a:pPr marL="285750" indent="-285750">
              <a:lnSpc>
                <a:spcPct val="106000"/>
              </a:lnSpc>
              <a:spcAft>
                <a:spcPts val="300"/>
              </a:spcAft>
              <a:buFont typeface="Arial" panose="020B0604020202020204" pitchFamily="34" charset="0"/>
              <a:buChar char="•"/>
            </a:pPr>
            <a:r>
              <a:rPr lang="en-US" sz="1200" dirty="0">
                <a:latin typeface="Segoe UI"/>
                <a:cs typeface="Segoe UI"/>
              </a:rPr>
              <a:t>Federal Land Access Program (FLAP)</a:t>
            </a:r>
          </a:p>
          <a:p>
            <a:pPr marL="285750" indent="-285750">
              <a:lnSpc>
                <a:spcPct val="106000"/>
              </a:lnSpc>
              <a:spcAft>
                <a:spcPts val="300"/>
              </a:spcAft>
              <a:buFont typeface="Arial" panose="020B0604020202020204" pitchFamily="34" charset="0"/>
              <a:buChar char="•"/>
            </a:pPr>
            <a:r>
              <a:rPr lang="en-US" sz="1200" dirty="0">
                <a:latin typeface="Segoe UI"/>
                <a:cs typeface="Segoe UI"/>
              </a:rPr>
              <a:t>Transportation Alternatives Set-Aside Program</a:t>
            </a:r>
          </a:p>
          <a:p>
            <a:pPr>
              <a:lnSpc>
                <a:spcPct val="106000"/>
              </a:lnSpc>
              <a:spcAft>
                <a:spcPts val="300"/>
              </a:spcAft>
            </a:pPr>
            <a:r>
              <a:rPr lang="en-US" sz="1400" b="1" dirty="0">
                <a:latin typeface="Segoe UI"/>
                <a:cs typeface="Segoe UI"/>
              </a:rPr>
              <a:t>Federal Transit Administration </a:t>
            </a:r>
          </a:p>
          <a:p>
            <a:pPr>
              <a:lnSpc>
                <a:spcPct val="106000"/>
              </a:lnSpc>
              <a:spcAft>
                <a:spcPts val="300"/>
              </a:spcAft>
            </a:pPr>
            <a:r>
              <a:rPr lang="en-US" sz="1200" dirty="0">
                <a:latin typeface="Segoe UI"/>
                <a:cs typeface="Segoe UI"/>
              </a:rPr>
              <a:t>Grants for Buses and Bus Facilities Programs </a:t>
            </a:r>
            <a:endParaRPr lang="en-US" sz="1200" b="1" dirty="0">
              <a:latin typeface="Segoe UI" panose="020B0502040204020203" pitchFamily="34" charset="0"/>
              <a:cs typeface="Segoe UI" panose="020B0502040204020203" pitchFamily="34" charset="0"/>
            </a:endParaRPr>
          </a:p>
          <a:p>
            <a:pPr>
              <a:lnSpc>
                <a:spcPct val="106000"/>
              </a:lnSpc>
              <a:spcAft>
                <a:spcPts val="300"/>
              </a:spcAft>
            </a:pPr>
            <a:r>
              <a:rPr lang="en-US" sz="1400" b="1" dirty="0">
                <a:latin typeface="Segoe UI"/>
                <a:cs typeface="Segoe UI"/>
              </a:rPr>
              <a:t>Office of the Secretary of Transportation</a:t>
            </a:r>
          </a:p>
          <a:p>
            <a:pPr marL="285750" indent="-285750">
              <a:lnSpc>
                <a:spcPct val="106000"/>
              </a:lnSpc>
              <a:spcAft>
                <a:spcPts val="300"/>
              </a:spcAft>
              <a:buFont typeface="Arial" panose="020B0604020202020204" pitchFamily="34" charset="0"/>
              <a:buChar char="•"/>
            </a:pPr>
            <a:r>
              <a:rPr lang="en-US" sz="1200" dirty="0">
                <a:latin typeface="Segoe UI"/>
                <a:cs typeface="Segoe UI"/>
              </a:rPr>
              <a:t>Rebuilding American Infrastructure with Sustainability and Equity (RAISE)</a:t>
            </a:r>
          </a:p>
          <a:p>
            <a:endParaRPr lang="en-US" sz="1200" dirty="0">
              <a:latin typeface="Segoe UI" panose="020B0502040204020203" pitchFamily="34" charset="0"/>
              <a:cs typeface="Segoe UI" panose="020B0502040204020203" pitchFamily="34" charset="0"/>
            </a:endParaRPr>
          </a:p>
          <a:p>
            <a:pPr>
              <a:lnSpc>
                <a:spcPct val="106000"/>
              </a:lnSpc>
              <a:spcAft>
                <a:spcPts val="300"/>
              </a:spcAft>
            </a:pPr>
            <a:r>
              <a:rPr lang="en-US" sz="1600" b="1" spc="300" dirty="0">
                <a:solidFill>
                  <a:srgbClr val="2E76BB"/>
                </a:solidFill>
                <a:latin typeface="Segoe UI"/>
                <a:cs typeface="Segoe UI"/>
              </a:rPr>
              <a:t>DEPARTMENT OF AGRICULTURE</a:t>
            </a:r>
            <a:endParaRPr lang="en-US" sz="1600" b="1" dirty="0">
              <a:solidFill>
                <a:srgbClr val="2E76BB"/>
              </a:solidFill>
              <a:latin typeface="Segoe UI"/>
              <a:cs typeface="Segoe UI"/>
            </a:endParaRPr>
          </a:p>
          <a:p>
            <a:pPr>
              <a:lnSpc>
                <a:spcPct val="106000"/>
              </a:lnSpc>
              <a:spcAft>
                <a:spcPts val="300"/>
              </a:spcAft>
            </a:pPr>
            <a:r>
              <a:rPr lang="en-US" sz="1400" b="1" dirty="0">
                <a:latin typeface="Segoe UI"/>
                <a:cs typeface="Segoe UI"/>
              </a:rPr>
              <a:t>Rural Development</a:t>
            </a:r>
          </a:p>
          <a:p>
            <a:pPr marL="285750" indent="-285750">
              <a:lnSpc>
                <a:spcPct val="106000"/>
              </a:lnSpc>
              <a:spcAft>
                <a:spcPts val="300"/>
              </a:spcAft>
              <a:buFont typeface="Arial" panose="020B0604020202020204" pitchFamily="34" charset="0"/>
              <a:buChar char="•"/>
            </a:pPr>
            <a:r>
              <a:rPr lang="en-US" sz="1200" dirty="0">
                <a:latin typeface="Segoe UI"/>
                <a:cs typeface="Segoe UI"/>
              </a:rPr>
              <a:t>Community Facilities Direct Loan and Grant Program</a:t>
            </a:r>
          </a:p>
          <a:p>
            <a:pPr marL="285750" indent="-285750">
              <a:lnSpc>
                <a:spcPct val="106000"/>
              </a:lnSpc>
              <a:spcAft>
                <a:spcPts val="300"/>
              </a:spcAft>
              <a:buFont typeface="Arial" panose="020B0604020202020204" pitchFamily="34" charset="0"/>
              <a:buChar char="•"/>
            </a:pPr>
            <a:r>
              <a:rPr lang="en-US" sz="1200" dirty="0">
                <a:latin typeface="Segoe UI" panose="020B0502040204020203" pitchFamily="34" charset="0"/>
                <a:cs typeface="Segoe UI" panose="020B0502040204020203" pitchFamily="34" charset="0"/>
              </a:rPr>
              <a:t>Rural Energy Savings Program</a:t>
            </a:r>
          </a:p>
        </p:txBody>
      </p:sp>
      <p:sp>
        <p:nvSpPr>
          <p:cNvPr id="8" name="TextBox 7">
            <a:extLst>
              <a:ext uri="{FF2B5EF4-FFF2-40B4-BE49-F238E27FC236}">
                <a16:creationId xmlns:a16="http://schemas.microsoft.com/office/drawing/2014/main" id="{09251986-900B-C8EB-5FD5-8C912BFB6092}"/>
              </a:ext>
            </a:extLst>
          </p:cNvPr>
          <p:cNvSpPr txBox="1"/>
          <p:nvPr/>
        </p:nvSpPr>
        <p:spPr>
          <a:xfrm>
            <a:off x="6607304" y="1380367"/>
            <a:ext cx="5389416" cy="3513398"/>
          </a:xfrm>
          <a:prstGeom prst="rect">
            <a:avLst/>
          </a:prstGeom>
          <a:noFill/>
        </p:spPr>
        <p:txBody>
          <a:bodyPr wrap="square" lIns="91440" tIns="45720" rIns="91440" bIns="45720" anchor="t">
            <a:spAutoFit/>
          </a:bodyPr>
          <a:lstStyle/>
          <a:p>
            <a:pPr>
              <a:lnSpc>
                <a:spcPct val="106000"/>
              </a:lnSpc>
              <a:spcAft>
                <a:spcPts val="300"/>
              </a:spcAft>
            </a:pPr>
            <a:r>
              <a:rPr lang="en-US" sz="1600" b="1" spc="300" dirty="0">
                <a:solidFill>
                  <a:srgbClr val="2E76BB"/>
                </a:solidFill>
                <a:latin typeface="Segoe UI"/>
                <a:cs typeface="Segoe UI"/>
              </a:rPr>
              <a:t>DEPARTMENT OF ENERGY</a:t>
            </a:r>
          </a:p>
          <a:p>
            <a:pPr>
              <a:lnSpc>
                <a:spcPct val="106000"/>
              </a:lnSpc>
              <a:spcAft>
                <a:spcPts val="300"/>
              </a:spcAft>
            </a:pPr>
            <a:r>
              <a:rPr lang="en-US" sz="1400" b="1" dirty="0">
                <a:latin typeface="Segoe UI"/>
                <a:cs typeface="Segoe UI"/>
              </a:rPr>
              <a:t>Vehicle Technologies Office</a:t>
            </a:r>
          </a:p>
          <a:p>
            <a:pPr marL="285750" indent="-285750">
              <a:lnSpc>
                <a:spcPct val="106000"/>
              </a:lnSpc>
              <a:spcAft>
                <a:spcPts val="300"/>
              </a:spcAft>
              <a:buFont typeface="Arial" panose="020B0604020202020204" pitchFamily="34" charset="0"/>
              <a:buChar char="•"/>
            </a:pPr>
            <a:r>
              <a:rPr lang="en-US" sz="1200" dirty="0">
                <a:latin typeface="Segoe UI"/>
                <a:cs typeface="Segoe UI"/>
              </a:rPr>
              <a:t>Funding Opportunity Announcements (FOAs)</a:t>
            </a:r>
            <a:endParaRPr lang="en-US" sz="1200" b="1">
              <a:latin typeface="Segoe UI"/>
              <a:cs typeface="Segoe UI"/>
            </a:endParaRPr>
          </a:p>
          <a:p>
            <a:pPr>
              <a:lnSpc>
                <a:spcPct val="106000"/>
              </a:lnSpc>
              <a:spcAft>
                <a:spcPts val="300"/>
              </a:spcAft>
            </a:pPr>
            <a:r>
              <a:rPr lang="en-US" sz="1400" b="1" dirty="0">
                <a:latin typeface="Segoe UI"/>
                <a:cs typeface="Segoe UI"/>
              </a:rPr>
              <a:t>Office of State and Community Energy Programs</a:t>
            </a:r>
          </a:p>
          <a:p>
            <a:pPr marL="285750" indent="-285750">
              <a:lnSpc>
                <a:spcPct val="106000"/>
              </a:lnSpc>
              <a:spcAft>
                <a:spcPts val="300"/>
              </a:spcAft>
              <a:buFont typeface="Arial" panose="020B0604020202020204" pitchFamily="34" charset="0"/>
              <a:buChar char="•"/>
            </a:pPr>
            <a:r>
              <a:rPr lang="en-US" sz="1200" dirty="0">
                <a:latin typeface="Segoe UI"/>
                <a:cs typeface="Segoe UI"/>
              </a:rPr>
              <a:t>State Energy Program (SEP)</a:t>
            </a:r>
            <a:endParaRPr lang="en-US" sz="1200" b="1">
              <a:latin typeface="Segoe UI"/>
              <a:cs typeface="Segoe UI"/>
            </a:endParaRPr>
          </a:p>
          <a:p>
            <a:pPr>
              <a:lnSpc>
                <a:spcPct val="106000"/>
              </a:lnSpc>
              <a:spcAft>
                <a:spcPts val="300"/>
              </a:spcAft>
            </a:pPr>
            <a:r>
              <a:rPr lang="en-US" sz="1400" b="1" dirty="0">
                <a:latin typeface="Segoe UI"/>
                <a:cs typeface="Segoe UI"/>
              </a:rPr>
              <a:t>Loan Programs Office</a:t>
            </a:r>
          </a:p>
          <a:p>
            <a:pPr marL="285750" indent="-285750">
              <a:lnSpc>
                <a:spcPct val="106000"/>
              </a:lnSpc>
              <a:spcAft>
                <a:spcPts val="300"/>
              </a:spcAft>
              <a:buFont typeface="Arial" panose="020B0604020202020204" pitchFamily="34" charset="0"/>
              <a:buChar char="•"/>
            </a:pPr>
            <a:r>
              <a:rPr lang="en-US" sz="1200" dirty="0">
                <a:latin typeface="Segoe UI"/>
                <a:cs typeface="Segoe UI"/>
              </a:rPr>
              <a:t>Title XVII Innovative Clean Energy Program</a:t>
            </a:r>
          </a:p>
          <a:p>
            <a:pPr marL="285750" indent="-28575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a:lnSpc>
                <a:spcPct val="106000"/>
              </a:lnSpc>
              <a:spcAft>
                <a:spcPts val="300"/>
              </a:spcAft>
            </a:pPr>
            <a:r>
              <a:rPr lang="en-US" sz="1600" b="1" spc="300" dirty="0">
                <a:solidFill>
                  <a:srgbClr val="2E76BB"/>
                </a:solidFill>
                <a:latin typeface="Segoe UI"/>
                <a:cs typeface="Segoe UI"/>
              </a:rPr>
              <a:t>ENVIRONMENTAL PROTECTION AGENCY</a:t>
            </a:r>
          </a:p>
          <a:p>
            <a:pPr marL="285750" indent="-285750">
              <a:lnSpc>
                <a:spcPct val="106000"/>
              </a:lnSpc>
              <a:spcAft>
                <a:spcPts val="300"/>
              </a:spcAft>
              <a:buFont typeface="Arial" panose="020B0604020202020204" pitchFamily="34" charset="0"/>
              <a:buChar char="•"/>
            </a:pPr>
            <a:r>
              <a:rPr lang="en-US" sz="1200" dirty="0">
                <a:latin typeface="Segoe UI"/>
                <a:cs typeface="Segoe UI"/>
              </a:rPr>
              <a:t>Diesel Emissions Reduction Act (DERA) Programs</a:t>
            </a:r>
          </a:p>
          <a:p>
            <a:pPr marL="285750" indent="-285750">
              <a:lnSpc>
                <a:spcPct val="106000"/>
              </a:lnSpc>
              <a:spcAft>
                <a:spcPts val="300"/>
              </a:spcAft>
              <a:buFont typeface="Arial" panose="020B0604020202020204" pitchFamily="34" charset="0"/>
              <a:buChar char="•"/>
            </a:pPr>
            <a:r>
              <a:rPr lang="en-US" sz="1200" dirty="0">
                <a:latin typeface="Segoe UI"/>
                <a:cs typeface="Segoe UI"/>
              </a:rPr>
              <a:t>Clean School Bus Program</a:t>
            </a:r>
          </a:p>
          <a:p>
            <a:endParaRPr lang="en-US" sz="1200">
              <a:latin typeface="Segoe UI" panose="020B0502040204020203" pitchFamily="34" charset="0"/>
              <a:cs typeface="Segoe UI" panose="020B0502040204020203" pitchFamily="34" charset="0"/>
            </a:endParaRPr>
          </a:p>
          <a:p>
            <a:pPr>
              <a:lnSpc>
                <a:spcPct val="106000"/>
              </a:lnSpc>
              <a:spcAft>
                <a:spcPts val="300"/>
              </a:spcAft>
            </a:pPr>
            <a:r>
              <a:rPr lang="en-US" sz="1600" b="1" spc="300" dirty="0">
                <a:solidFill>
                  <a:srgbClr val="2E76BB"/>
                </a:solidFill>
                <a:latin typeface="Segoe UI"/>
                <a:cs typeface="Segoe UI"/>
              </a:rPr>
              <a:t>INTERNAL REVENUE SERVICE</a:t>
            </a:r>
          </a:p>
          <a:p>
            <a:pPr marL="285750" indent="-285750">
              <a:lnSpc>
                <a:spcPct val="106000"/>
              </a:lnSpc>
              <a:spcAft>
                <a:spcPts val="300"/>
              </a:spcAft>
              <a:buFont typeface="Arial" panose="020B0604020202020204" pitchFamily="34" charset="0"/>
              <a:buChar char="•"/>
            </a:pPr>
            <a:r>
              <a:rPr lang="en-US" sz="1200" dirty="0">
                <a:latin typeface="Segoe UI" panose="020B0502040204020203" pitchFamily="34" charset="0"/>
                <a:cs typeface="Segoe UI" panose="020B0502040204020203" pitchFamily="34" charset="0"/>
              </a:rPr>
              <a:t>Alternative Fuel Infrastructure Tax Credit</a:t>
            </a:r>
          </a:p>
        </p:txBody>
      </p:sp>
      <p:sp>
        <p:nvSpPr>
          <p:cNvPr id="10" name="TextBox 9">
            <a:extLst>
              <a:ext uri="{FF2B5EF4-FFF2-40B4-BE49-F238E27FC236}">
                <a16:creationId xmlns:a16="http://schemas.microsoft.com/office/drawing/2014/main" id="{9964C809-5A9C-4CD5-F135-DA4E0C106363}"/>
              </a:ext>
            </a:extLst>
          </p:cNvPr>
          <p:cNvSpPr txBox="1"/>
          <p:nvPr/>
        </p:nvSpPr>
        <p:spPr>
          <a:xfrm>
            <a:off x="5044370" y="5300108"/>
            <a:ext cx="4258275" cy="1327415"/>
          </a:xfrm>
          <a:prstGeom prst="rect">
            <a:avLst/>
          </a:prstGeom>
          <a:solidFill>
            <a:srgbClr val="D3E5F5"/>
          </a:solidFill>
          <a:ln>
            <a:noFill/>
          </a:ln>
        </p:spPr>
        <p:txBody>
          <a:bodyPr wrap="square" lIns="91440" tIns="45720" rIns="91440" bIns="45720" anchor="t">
            <a:spAutoFit/>
          </a:bodyPr>
          <a:lstStyle/>
          <a:p>
            <a:pPr>
              <a:lnSpc>
                <a:spcPct val="106000"/>
              </a:lnSpc>
              <a:spcAft>
                <a:spcPts val="300"/>
              </a:spcAft>
            </a:pPr>
            <a:r>
              <a:rPr lang="en-US" sz="1600" b="1" dirty="0">
                <a:latin typeface="Segoe UI"/>
                <a:cs typeface="Segoe UI"/>
              </a:rPr>
              <a:t>The Inflation Reduction Act (2022)</a:t>
            </a:r>
          </a:p>
          <a:p>
            <a:pPr marL="285750" indent="-285750">
              <a:lnSpc>
                <a:spcPct val="106000"/>
              </a:lnSpc>
              <a:spcAft>
                <a:spcPts val="300"/>
              </a:spcAft>
              <a:buFont typeface="Arial" panose="020B0604020202020204" pitchFamily="34" charset="0"/>
              <a:buChar char="•"/>
            </a:pPr>
            <a:r>
              <a:rPr lang="en-US" sz="1400" dirty="0">
                <a:latin typeface="Segoe UI"/>
                <a:cs typeface="Segoe UI"/>
              </a:rPr>
              <a:t>Includes provisions to revitalize American manufacturing and create clean energy jobs.</a:t>
            </a:r>
          </a:p>
          <a:p>
            <a:pPr marL="285750" indent="-285750">
              <a:lnSpc>
                <a:spcPct val="106000"/>
              </a:lnSpc>
              <a:spcAft>
                <a:spcPts val="300"/>
              </a:spcAft>
              <a:buFont typeface="Arial" panose="020B0604020202020204" pitchFamily="34" charset="0"/>
              <a:buChar char="•"/>
            </a:pPr>
            <a:r>
              <a:rPr lang="en-US" sz="1400" dirty="0">
                <a:latin typeface="Segoe UI"/>
                <a:cs typeface="Segoe UI"/>
              </a:rPr>
              <a:t>Will enable several new EV-related programs across multiple Federal agencies</a:t>
            </a:r>
          </a:p>
        </p:txBody>
      </p:sp>
    </p:spTree>
    <p:extLst>
      <p:ext uri="{BB962C8B-B14F-4D97-AF65-F5344CB8AC3E}">
        <p14:creationId xmlns:p14="http://schemas.microsoft.com/office/powerpoint/2010/main" val="396875326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5C8195-3CEF-C94F-A66D-F8D603A0047F}"/>
              </a:ext>
            </a:extLst>
          </p:cNvPr>
          <p:cNvSpPr txBox="1">
            <a:spLocks/>
          </p:cNvSpPr>
          <p:nvPr/>
        </p:nvSpPr>
        <p:spPr>
          <a:xfrm>
            <a:off x="838200" y="141767"/>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dirty="0">
                <a:cs typeface="Times"/>
              </a:rPr>
              <a:t>Success Story: Charging at WV State Parks</a:t>
            </a:r>
          </a:p>
        </p:txBody>
      </p:sp>
      <p:sp>
        <p:nvSpPr>
          <p:cNvPr id="5" name="TextBox 4">
            <a:extLst>
              <a:ext uri="{FF2B5EF4-FFF2-40B4-BE49-F238E27FC236}">
                <a16:creationId xmlns:a16="http://schemas.microsoft.com/office/drawing/2014/main" id="{42862860-92AB-437A-5927-1B51C9FC0D84}"/>
              </a:ext>
            </a:extLst>
          </p:cNvPr>
          <p:cNvSpPr txBox="1"/>
          <p:nvPr/>
        </p:nvSpPr>
        <p:spPr>
          <a:xfrm>
            <a:off x="2424546" y="1006140"/>
            <a:ext cx="734290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0000"/>
                </a:solidFill>
                <a:latin typeface="Open Sans Condensed"/>
              </a:rPr>
              <a:t>State parks in West Virginia attract visitors, shoppers, and diners through complimentary EV charging.</a:t>
            </a:r>
            <a:endParaRPr lang="en-US" dirty="0">
              <a:solidFill>
                <a:srgbClr val="000000"/>
              </a:solidFill>
            </a:endParaRPr>
          </a:p>
        </p:txBody>
      </p:sp>
      <p:grpSp>
        <p:nvGrpSpPr>
          <p:cNvPr id="13" name="Group 12">
            <a:extLst>
              <a:ext uri="{FF2B5EF4-FFF2-40B4-BE49-F238E27FC236}">
                <a16:creationId xmlns:a16="http://schemas.microsoft.com/office/drawing/2014/main" id="{F097381C-D0DD-827F-D3ED-F4823A52755C}"/>
              </a:ext>
            </a:extLst>
          </p:cNvPr>
          <p:cNvGrpSpPr/>
          <p:nvPr/>
        </p:nvGrpSpPr>
        <p:grpSpPr>
          <a:xfrm>
            <a:off x="1693322" y="1930597"/>
            <a:ext cx="3612969" cy="2112710"/>
            <a:chOff x="7813475" y="1908392"/>
            <a:chExt cx="3000907" cy="2538974"/>
          </a:xfrm>
        </p:grpSpPr>
        <p:grpSp>
          <p:nvGrpSpPr>
            <p:cNvPr id="9" name="Group 8">
              <a:extLst>
                <a:ext uri="{FF2B5EF4-FFF2-40B4-BE49-F238E27FC236}">
                  <a16:creationId xmlns:a16="http://schemas.microsoft.com/office/drawing/2014/main" id="{BA90319A-081D-5B80-60BE-81291B61F7FC}"/>
                </a:ext>
              </a:extLst>
            </p:cNvPr>
            <p:cNvGrpSpPr/>
            <p:nvPr/>
          </p:nvGrpSpPr>
          <p:grpSpPr>
            <a:xfrm>
              <a:off x="7867438" y="1908392"/>
              <a:ext cx="2946944" cy="2538974"/>
              <a:chOff x="8889236" y="1570398"/>
              <a:chExt cx="2946944" cy="2538974"/>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8ABC33C3-C317-A9E5-A5F6-7DF939EB0555}"/>
                  </a:ext>
                </a:extLst>
              </p:cNvPr>
              <p:cNvSpPr/>
              <p:nvPr/>
            </p:nvSpPr>
            <p:spPr bwMode="gray">
              <a:xfrm>
                <a:off x="8889236" y="1570398"/>
                <a:ext cx="2946944" cy="2538974"/>
              </a:xfrm>
              <a:prstGeom prst="rect">
                <a:avLst/>
              </a:prstGeom>
              <a:solidFill>
                <a:schemeClr val="bg1"/>
              </a:solidFill>
              <a:ln w="9525" algn="ctr">
                <a:solidFill>
                  <a:schemeClr val="bg1">
                    <a:lumMod val="8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25CB7E9C-D5AD-CEB0-6B03-6946A2AE8265}"/>
                  </a:ext>
                </a:extLst>
              </p:cNvPr>
              <p:cNvSpPr txBox="1"/>
              <p:nvPr/>
            </p:nvSpPr>
            <p:spPr>
              <a:xfrm>
                <a:off x="9009867" y="1801629"/>
                <a:ext cx="2705682" cy="2076513"/>
              </a:xfrm>
              <a:prstGeom prst="rect">
                <a:avLst/>
              </a:prstGeom>
              <a:solidFill>
                <a:schemeClr val="bg1"/>
              </a:solidFill>
              <a:ln>
                <a:noFill/>
              </a:ln>
              <a:scene3d>
                <a:camera prst="orthographicFront"/>
                <a:lightRig rig="threePt" dir="t"/>
              </a:scene3d>
              <a:sp3d extrusionH="76200">
                <a:extrusionClr>
                  <a:srgbClr val="FF0000"/>
                </a:extrusionClr>
                <a:contourClr>
                  <a:schemeClr val="bg1"/>
                </a:contourClr>
              </a:sp3d>
            </p:spPr>
            <p:txBody>
              <a:bodyPr wrap="square" lIns="0" tIns="0" rIns="0" bIns="0" rtlCol="0">
                <a:spAutoFit/>
              </a:bodyPr>
              <a:lstStyle/>
              <a:p>
                <a:pPr>
                  <a:spcBef>
                    <a:spcPts val="600"/>
                  </a:spcBef>
                  <a:buSzPct val="100000"/>
                </a:pPr>
                <a:r>
                  <a:rPr lang="en-US" sz="1200" b="1">
                    <a:latin typeface="Segoe UI Semibold" panose="020B0702040204020203" pitchFamily="34" charset="0"/>
                    <a:ea typeface="Segoe UI Emoji" panose="020B0502040204020203" pitchFamily="34" charset="0"/>
                    <a:cs typeface="Segoe UI Semibold" panose="020B0702040204020203" pitchFamily="34" charset="0"/>
                  </a:rPr>
                  <a:t>CHARGING AT STATE PARK LODGES IN WEST VIRGINIA</a:t>
                </a:r>
              </a:p>
              <a:p>
                <a:pPr algn="just">
                  <a:spcBef>
                    <a:spcPts val="600"/>
                  </a:spcBef>
                  <a:buSzPct val="100000"/>
                </a:pPr>
                <a:r>
                  <a:rPr lang="en-US" sz="1200">
                    <a:latin typeface="Segoe IU"/>
                  </a:rPr>
                  <a:t>In West Virginia, EV charging stations are available at 9 of the 10 State park lodges in the State. Drivers can charge their vehicles for free, but lodge owners noted that while people are charging their vehicles they spend money at the lodges, including in gift shops and restaurants and for overnight stays. </a:t>
                </a:r>
                <a:endParaRPr lang="en-US" sz="1200">
                  <a:latin typeface="Segoe IU"/>
                  <a:cs typeface="Segoe UI" panose="020B0502040204020203" pitchFamily="34" charset="0"/>
                </a:endParaRPr>
              </a:p>
            </p:txBody>
          </p:sp>
        </p:grpSp>
        <p:sp>
          <p:nvSpPr>
            <p:cNvPr id="10" name="Oval 9">
              <a:extLst>
                <a:ext uri="{FF2B5EF4-FFF2-40B4-BE49-F238E27FC236}">
                  <a16:creationId xmlns:a16="http://schemas.microsoft.com/office/drawing/2014/main" id="{A73E140F-2A51-C586-C56C-4D194B331C5D}"/>
                </a:ext>
              </a:extLst>
            </p:cNvPr>
            <p:cNvSpPr/>
            <p:nvPr/>
          </p:nvSpPr>
          <p:spPr bwMode="gray">
            <a:xfrm>
              <a:off x="7813475" y="2120895"/>
              <a:ext cx="100584" cy="100584"/>
            </a:xfrm>
            <a:prstGeom prst="ellipse">
              <a:avLst/>
            </a:prstGeom>
            <a:solidFill>
              <a:srgbClr val="D3E5F5"/>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15" name="Picture 14">
            <a:extLst>
              <a:ext uri="{FF2B5EF4-FFF2-40B4-BE49-F238E27FC236}">
                <a16:creationId xmlns:a16="http://schemas.microsoft.com/office/drawing/2014/main" id="{EBA88A94-9EA1-00D5-A2EC-E3C233E2C9E0}"/>
              </a:ext>
            </a:extLst>
          </p:cNvPr>
          <p:cNvPicPr>
            <a:picLocks noChangeAspect="1"/>
          </p:cNvPicPr>
          <p:nvPr/>
        </p:nvPicPr>
        <p:blipFill rotWithShape="1">
          <a:blip r:embed="rId3"/>
          <a:srcRect l="9232" t="310" r="4479" b="11004"/>
          <a:stretch/>
        </p:blipFill>
        <p:spPr>
          <a:xfrm>
            <a:off x="7475651" y="1930597"/>
            <a:ext cx="2694760" cy="2112710"/>
          </a:xfrm>
          <a:prstGeom prst="rect">
            <a:avLst/>
          </a:prstGeom>
        </p:spPr>
      </p:pic>
      <p:pic>
        <p:nvPicPr>
          <p:cNvPr id="17" name="Picture 16">
            <a:extLst>
              <a:ext uri="{FF2B5EF4-FFF2-40B4-BE49-F238E27FC236}">
                <a16:creationId xmlns:a16="http://schemas.microsoft.com/office/drawing/2014/main" id="{5DCA06CF-ADD8-B11F-9C39-64DB68B88C11}"/>
              </a:ext>
            </a:extLst>
          </p:cNvPr>
          <p:cNvPicPr>
            <a:picLocks noChangeAspect="1"/>
          </p:cNvPicPr>
          <p:nvPr/>
        </p:nvPicPr>
        <p:blipFill rotWithShape="1">
          <a:blip r:embed="rId4"/>
          <a:srcRect r="9476"/>
          <a:stretch/>
        </p:blipFill>
        <p:spPr>
          <a:xfrm>
            <a:off x="2909405" y="4500803"/>
            <a:ext cx="6111080" cy="2243948"/>
          </a:xfrm>
          <a:prstGeom prst="rect">
            <a:avLst/>
          </a:prstGeom>
        </p:spPr>
      </p:pic>
      <p:sp>
        <p:nvSpPr>
          <p:cNvPr id="19" name="TextBox 18">
            <a:extLst>
              <a:ext uri="{FF2B5EF4-FFF2-40B4-BE49-F238E27FC236}">
                <a16:creationId xmlns:a16="http://schemas.microsoft.com/office/drawing/2014/main" id="{046248EC-ED03-989D-A17C-2C7C76E87DD8}"/>
              </a:ext>
            </a:extLst>
          </p:cNvPr>
          <p:cNvSpPr txBox="1"/>
          <p:nvPr/>
        </p:nvSpPr>
        <p:spPr>
          <a:xfrm>
            <a:off x="9392627" y="5518868"/>
            <a:ext cx="2010802" cy="707886"/>
          </a:xfrm>
          <a:prstGeom prst="rect">
            <a:avLst/>
          </a:prstGeom>
          <a:noFill/>
        </p:spPr>
        <p:txBody>
          <a:bodyPr wrap="square">
            <a:spAutoFit/>
          </a:bodyPr>
          <a:lstStyle/>
          <a:p>
            <a:pPr marL="0" marR="0">
              <a:spcBef>
                <a:spcPts val="0"/>
              </a:spcBef>
            </a:pPr>
            <a:r>
              <a:rPr lang="en-US" sz="1000">
                <a:effectLst/>
                <a:latin typeface="Segoe IU"/>
                <a:ea typeface="Calibri" panose="020F0502020204030204" pitchFamily="34" charset="0"/>
                <a:cs typeface="Arial" panose="020B0604020202020204" pitchFamily="34" charset="0"/>
              </a:rPr>
              <a:t>Map of </a:t>
            </a:r>
            <a:r>
              <a:rPr lang="en-US" sz="1000">
                <a:latin typeface="Segoe IU"/>
                <a:ea typeface="Calibri" panose="020F0502020204030204" pitchFamily="34" charset="0"/>
                <a:cs typeface="Arial" panose="020B0604020202020204" pitchFamily="34" charset="0"/>
              </a:rPr>
              <a:t>state </a:t>
            </a:r>
            <a:r>
              <a:rPr lang="en-US" sz="1000">
                <a:effectLst/>
                <a:latin typeface="Segoe IU"/>
                <a:ea typeface="Calibri" panose="020F0502020204030204" pitchFamily="34" charset="0"/>
                <a:cs typeface="Arial" panose="020B0604020202020204" pitchFamily="34" charset="0"/>
              </a:rPr>
              <a:t>lodge locations (top) and parking spot for EV charging (bottom) (source: West Virginia State Parks, 2022)</a:t>
            </a:r>
          </a:p>
        </p:txBody>
      </p:sp>
    </p:spTree>
    <p:extLst>
      <p:ext uri="{BB962C8B-B14F-4D97-AF65-F5344CB8AC3E}">
        <p14:creationId xmlns:p14="http://schemas.microsoft.com/office/powerpoint/2010/main" val="40719382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2" name="Title 1">
            <a:extLst>
              <a:ext uri="{FF2B5EF4-FFF2-40B4-BE49-F238E27FC236}">
                <a16:creationId xmlns:a16="http://schemas.microsoft.com/office/drawing/2014/main" id="{7DE2FAE4-8988-4448-8C93-0696156AABCF}"/>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Rural Grant Applicant Toolkit</a:t>
            </a:r>
          </a:p>
        </p:txBody>
      </p:sp>
      <p:sp>
        <p:nvSpPr>
          <p:cNvPr id="14" name="TextBox 13">
            <a:extLst>
              <a:ext uri="{FF2B5EF4-FFF2-40B4-BE49-F238E27FC236}">
                <a16:creationId xmlns:a16="http://schemas.microsoft.com/office/drawing/2014/main" id="{CDC3CC4B-A637-4A57-9AED-A5E0E1FB3BFB}"/>
              </a:ext>
            </a:extLst>
          </p:cNvPr>
          <p:cNvSpPr txBox="1"/>
          <p:nvPr/>
        </p:nvSpPr>
        <p:spPr>
          <a:xfrm>
            <a:off x="644801" y="1082214"/>
            <a:ext cx="6171694" cy="1967205"/>
          </a:xfrm>
          <a:prstGeom prst="rect">
            <a:avLst/>
          </a:prstGeom>
          <a:noFill/>
        </p:spPr>
        <p:txBody>
          <a:bodyPr wrap="square" lIns="0" tIns="0" rIns="0" bIns="0" rtlCol="0" anchor="t">
            <a:spAutoFit/>
          </a:bodyPr>
          <a:lstStyle/>
          <a:p>
            <a:pPr marL="0" marR="0" lvl="0" indent="0" algn="l" defTabSz="1219170" rtl="0" eaLnBrk="1" fontAlgn="auto" latinLnBrk="0" hangingPunct="1">
              <a:lnSpc>
                <a:spcPct val="100000"/>
              </a:lnSpc>
              <a:spcBef>
                <a:spcPts val="300"/>
              </a:spcBef>
              <a:spcAft>
                <a:spcPts val="300"/>
              </a:spcAft>
              <a:buClrTx/>
              <a:buSzPct val="100000"/>
              <a:buFontTx/>
              <a:buNone/>
              <a:tabLst/>
              <a:defRPr/>
            </a:pPr>
            <a:r>
              <a:rPr kumimoji="0" lang="en-US" sz="1600" b="1" i="0" u="none" strike="noStrike" kern="1200" cap="none" spc="300" normalizeH="0" noProof="0" dirty="0">
                <a:ln>
                  <a:noFill/>
                </a:ln>
                <a:solidFill>
                  <a:srgbClr val="2E76BB"/>
                </a:solidFill>
                <a:effectLst/>
                <a:uLnTx/>
                <a:uFillTx/>
                <a:latin typeface="Segoe UI"/>
                <a:cs typeface="Segoe UI"/>
              </a:rPr>
              <a:t>OVERVIEW</a:t>
            </a:r>
          </a:p>
          <a:p>
            <a:pPr marL="342265" marR="0" lvl="0" indent="-342900" algn="l" defTabSz="121917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en-US" sz="1600" dirty="0">
                <a:latin typeface="Segoe UI" panose="020B0502040204020203" pitchFamily="34" charset="0"/>
                <a:cs typeface="Segoe UI" panose="020B0502040204020203" pitchFamily="34" charset="0"/>
              </a:rPr>
              <a:t>H</a:t>
            </a:r>
            <a:r>
              <a:rPr kumimoji="0" lang="en-US" sz="1600" b="0" i="0" u="none" strike="noStrike" kern="1200" cap="none" spc="0" normalizeH="0" baseline="0" noProof="0" dirty="0" err="1">
                <a:ln>
                  <a:noFill/>
                </a:ln>
                <a:effectLst/>
                <a:uLnTx/>
                <a:uFillTx/>
                <a:latin typeface="Segoe UI" panose="020B0502040204020203" pitchFamily="34" charset="0"/>
                <a:cs typeface="Segoe UI" panose="020B0502040204020203" pitchFamily="34" charset="0"/>
              </a:rPr>
              <a:t>elps</a:t>
            </a: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 project sponsors navigate the federal discretionary grant process. </a:t>
            </a:r>
          </a:p>
          <a:p>
            <a:pPr marL="342265" marR="0" lvl="0" indent="-342900" algn="l" defTabSz="121917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llustrates key applicant activities when participating in the USDOT discretionary grants process</a:t>
            </a:r>
            <a:endParaRPr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a:p>
            <a:pPr marL="342265" marR="0" lvl="0" indent="-342900" algn="l" defTabSz="121917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Compiles helpful tools and resources for applicants to maximize the potential for award success</a:t>
            </a:r>
            <a:endParaRPr lang="en-US" sz="1600" b="0" i="0" u="none" strike="noStrike" kern="1200" cap="none" spc="0" normalizeH="0" baseline="0" noProof="0" dirty="0">
              <a:ln>
                <a:noFill/>
              </a:ln>
              <a:effectLst/>
              <a:uLnTx/>
              <a:uFillTx/>
              <a:latin typeface="Segoe UI" panose="020B0502040204020203" pitchFamily="34" charset="0"/>
              <a:cs typeface="Segoe UI" panose="020B0502040204020203" pitchFamily="34" charset="0"/>
            </a:endParaRPr>
          </a:p>
        </p:txBody>
      </p:sp>
      <p:pic>
        <p:nvPicPr>
          <p:cNvPr id="16" name="Picture 15">
            <a:extLst>
              <a:ext uri="{FF2B5EF4-FFF2-40B4-BE49-F238E27FC236}">
                <a16:creationId xmlns:a16="http://schemas.microsoft.com/office/drawing/2014/main" id="{7E8D9EB7-19DA-445E-A0DA-67772226B009}"/>
              </a:ext>
            </a:extLst>
          </p:cNvPr>
          <p:cNvPicPr>
            <a:picLocks noChangeAspect="1"/>
          </p:cNvPicPr>
          <p:nvPr/>
        </p:nvPicPr>
        <p:blipFill rotWithShape="1">
          <a:blip r:embed="rId3"/>
          <a:srcRect l="698" r="278"/>
          <a:stretch/>
        </p:blipFill>
        <p:spPr>
          <a:xfrm>
            <a:off x="8439119" y="3777072"/>
            <a:ext cx="2149129" cy="2764134"/>
          </a:xfrm>
          <a:prstGeom prst="rect">
            <a:avLst/>
          </a:prstGeom>
          <a:ln>
            <a:solidFill>
              <a:schemeClr val="bg1"/>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2F6F2982-EE22-647A-F469-C1DD492A2AA7}"/>
              </a:ext>
            </a:extLst>
          </p:cNvPr>
          <p:cNvSpPr txBox="1"/>
          <p:nvPr/>
        </p:nvSpPr>
        <p:spPr>
          <a:xfrm>
            <a:off x="654253" y="3292554"/>
            <a:ext cx="7007935" cy="246221"/>
          </a:xfrm>
          <a:prstGeom prst="rect">
            <a:avLst/>
          </a:prstGeom>
          <a:noFill/>
        </p:spPr>
        <p:txBody>
          <a:bodyPr wrap="square" lIns="0" tIns="0" rIns="0" bIns="0" rtlCol="0" anchor="t">
            <a:spAutoFit/>
          </a:bodyPr>
          <a:lstStyle/>
          <a:p>
            <a:pPr marL="0" marR="0" lvl="0" indent="0" algn="ctr" defTabSz="1219170" rtl="0" eaLnBrk="1" fontAlgn="auto" latinLnBrk="0" hangingPunct="1">
              <a:lnSpc>
                <a:spcPct val="100000"/>
              </a:lnSpc>
              <a:spcBef>
                <a:spcPts val="600"/>
              </a:spcBef>
              <a:spcAft>
                <a:spcPts val="600"/>
              </a:spcAft>
              <a:buClrTx/>
              <a:buSzPct val="100000"/>
              <a:buFontTx/>
              <a:buNone/>
              <a:tabLst/>
              <a:defRPr/>
            </a:pPr>
            <a:r>
              <a:rPr lang="en-US" sz="1600" b="1" i="1" spc="300" dirty="0">
                <a:solidFill>
                  <a:srgbClr val="2E76BB"/>
                </a:solidFill>
                <a:latin typeface="Segoe UI" panose="020B0502040204020203" pitchFamily="34" charset="0"/>
                <a:cs typeface="Segoe UI" panose="020B0502040204020203" pitchFamily="34" charset="0"/>
              </a:rPr>
              <a:t>RECENTLY REVISED</a:t>
            </a:r>
            <a:endParaRPr kumimoji="0" lang="en-US" sz="1600" b="1" i="1" u="none" strike="noStrike" kern="1200" cap="none" spc="300" normalizeH="0" baseline="0" noProof="0" dirty="0">
              <a:ln>
                <a:noFill/>
              </a:ln>
              <a:solidFill>
                <a:srgbClr val="2E76BB"/>
              </a:solidFill>
              <a:effectLst/>
              <a:uLnTx/>
              <a:uFillTx/>
              <a:latin typeface="Segoe UI" panose="020B0502040204020203" pitchFamily="34" charset="0"/>
              <a:ea typeface="+mn-ea"/>
              <a:cs typeface="Segoe UI" panose="020B0502040204020203" pitchFamily="34" charset="0"/>
            </a:endParaRPr>
          </a:p>
        </p:txBody>
      </p:sp>
      <p:pic>
        <p:nvPicPr>
          <p:cNvPr id="7" name="Picture 6">
            <a:extLst>
              <a:ext uri="{FF2B5EF4-FFF2-40B4-BE49-F238E27FC236}">
                <a16:creationId xmlns:a16="http://schemas.microsoft.com/office/drawing/2014/main" id="{5CA8C9BE-EEEE-3B94-63C1-60E37174753C}"/>
              </a:ext>
            </a:extLst>
          </p:cNvPr>
          <p:cNvPicPr>
            <a:picLocks noChangeAspect="1"/>
          </p:cNvPicPr>
          <p:nvPr/>
        </p:nvPicPr>
        <p:blipFill>
          <a:blip r:embed="rId4"/>
          <a:stretch>
            <a:fillRect/>
          </a:stretch>
        </p:blipFill>
        <p:spPr>
          <a:xfrm>
            <a:off x="9278829" y="1016765"/>
            <a:ext cx="2641112" cy="3518176"/>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4" name="Rectangle 3">
            <a:extLst>
              <a:ext uri="{FF2B5EF4-FFF2-40B4-BE49-F238E27FC236}">
                <a16:creationId xmlns:a16="http://schemas.microsoft.com/office/drawing/2014/main" id="{0B067072-A80B-8C0D-1BD6-870389DBB7D4}"/>
              </a:ext>
            </a:extLst>
          </p:cNvPr>
          <p:cNvSpPr/>
          <p:nvPr/>
        </p:nvSpPr>
        <p:spPr>
          <a:xfrm>
            <a:off x="646621" y="4125291"/>
            <a:ext cx="7200002" cy="2534027"/>
          </a:xfrm>
          <a:prstGeom prst="rect">
            <a:avLst/>
          </a:prstGeom>
          <a:solidFill>
            <a:schemeClr val="bg1">
              <a:lumMod val="95000"/>
            </a:schemeClr>
          </a:solidFill>
        </p:spPr>
        <p:txBody>
          <a:bodyPr wrap="square" lIns="91440" tIns="45720" rIns="91440" bIns="45720" anchor="t">
            <a:spAutoFit/>
          </a:bodyPr>
          <a:lstStyle/>
          <a:p>
            <a:pPr algn="ctr">
              <a:spcAft>
                <a:spcPts val="800"/>
              </a:spcAft>
            </a:pPr>
            <a:r>
              <a:rPr lang="en-US" sz="1400" b="1">
                <a:solidFill>
                  <a:srgbClr val="2E76BB"/>
                </a:solidFill>
                <a:latin typeface="Segoe IU"/>
                <a:cs typeface="Segoe UI" panose="020B0502040204020203" pitchFamily="34" charset="0"/>
              </a:rPr>
              <a:t>Table of Contents</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The Critical Role of Rural Communities in the U.S. Transportation System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Federal Funding and Financing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Who Is Eligible to Apply for Discretionary Grants?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The Grant Application Process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Maximizing Award Success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USDOT Discretionary Grant Programs </a:t>
            </a:r>
          </a:p>
          <a:p>
            <a:pPr marL="342265" indent="-342900">
              <a:spcAft>
                <a:spcPts val="800"/>
              </a:spcAft>
              <a:buFont typeface="Arial" panose="020B0604020202020204" pitchFamily="34" charset="0"/>
              <a:buChar char="•"/>
            </a:pPr>
            <a:r>
              <a:rPr lang="en-US" sz="1400">
                <a:latin typeface="Segoe IU"/>
                <a:cs typeface="Segoe UI" panose="020B0502040204020203" pitchFamily="34" charset="0"/>
              </a:rPr>
              <a:t>Non-USDOT Discretionary Grants: Agency Descriptions and Programs </a:t>
            </a:r>
          </a:p>
        </p:txBody>
      </p:sp>
      <p:pic>
        <p:nvPicPr>
          <p:cNvPr id="2" name="Picture 1">
            <a:extLst>
              <a:ext uri="{FF2B5EF4-FFF2-40B4-BE49-F238E27FC236}">
                <a16:creationId xmlns:a16="http://schemas.microsoft.com/office/drawing/2014/main" id="{6CBB7217-13D0-E1D1-C2E3-661068201E84}"/>
              </a:ext>
            </a:extLst>
          </p:cNvPr>
          <p:cNvPicPr>
            <a:picLocks noChangeAspect="1"/>
          </p:cNvPicPr>
          <p:nvPr/>
        </p:nvPicPr>
        <p:blipFill>
          <a:blip r:embed="rId5"/>
          <a:stretch>
            <a:fillRect/>
          </a:stretch>
        </p:blipFill>
        <p:spPr>
          <a:xfrm>
            <a:off x="6862384" y="772629"/>
            <a:ext cx="1431561" cy="1444053"/>
          </a:xfrm>
          <a:prstGeom prst="rect">
            <a:avLst/>
          </a:prstGeom>
        </p:spPr>
      </p:pic>
    </p:spTree>
    <p:extLst>
      <p:ext uri="{BB962C8B-B14F-4D97-AF65-F5344CB8AC3E}">
        <p14:creationId xmlns:p14="http://schemas.microsoft.com/office/powerpoint/2010/main" val="487430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Custom Desig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Section Title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6.xml><?xml version="1.0" encoding="utf-8"?>
<a:theme xmlns:a="http://schemas.openxmlformats.org/drawingml/2006/main" name="Office Theme">
  <a:themeElements>
    <a:clrScheme name="Custom 2">
      <a:dk1>
        <a:srgbClr val="000000"/>
      </a:dk1>
      <a:lt1>
        <a:srgbClr val="FFFFFF"/>
      </a:lt1>
      <a:dk2>
        <a:srgbClr val="2F2F68"/>
      </a:dk2>
      <a:lt2>
        <a:srgbClr val="FFFFFF"/>
      </a:lt2>
      <a:accent1>
        <a:srgbClr val="2842AA"/>
      </a:accent1>
      <a:accent2>
        <a:srgbClr val="C4530E"/>
      </a:accent2>
      <a:accent3>
        <a:srgbClr val="2842AA"/>
      </a:accent3>
      <a:accent4>
        <a:srgbClr val="2F2F68"/>
      </a:accent4>
      <a:accent5>
        <a:srgbClr val="A5A5A5"/>
      </a:accent5>
      <a:accent6>
        <a:srgbClr val="C4530E"/>
      </a:accent6>
      <a:hlink>
        <a:srgbClr val="2F2F68"/>
      </a:hlink>
      <a:folHlink>
        <a:srgbClr val="2842AA"/>
      </a:folHlink>
    </a:clrScheme>
    <a:fontScheme name="EV">
      <a:majorFont>
        <a:latin typeface="Open Sans Condensed"/>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cs typeface="Gill Sans Regular" panose="020B0502020104020203"/>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400" dirty="0" err="1" smtClean="0">
            <a:cs typeface="Gill Sans Regular" panose="020B0502020104020203"/>
          </a:defRPr>
        </a:defPPr>
      </a:lstStyle>
    </a:txDef>
  </a:objectDefaults>
  <a:extraClrSchemeLst/>
  <a:extLst>
    <a:ext uri="{05A4C25C-085E-4340-85A3-A5531E510DB2}">
      <thm15:themeFamily xmlns:thm15="http://schemas.microsoft.com/office/thememl/2012/main" name="Presentation1" id="{0CDFA288-9326-4555-A88C-13EAF5596B2D}" vid="{F68811C3-EE02-4BC3-B2C0-48D299466B6B}"/>
    </a:ext>
  </a:extLst>
</a:theme>
</file>

<file path=ppt/theme/theme7.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8B76E5FB-3D44-4ADE-97F4-EE2F8DA6C64F}" vid="{D90B51BD-6DB3-412C-BDC1-2EA0386B91B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A151E077DDED48A0183BBF68A07201" ma:contentTypeVersion="16" ma:contentTypeDescription="Create a new document." ma:contentTypeScope="" ma:versionID="a3b153e5022ca33c84110fd266e71355">
  <xsd:schema xmlns:xsd="http://www.w3.org/2001/XMLSchema" xmlns:xs="http://www.w3.org/2001/XMLSchema" xmlns:p="http://schemas.microsoft.com/office/2006/metadata/properties" xmlns:ns2="b807ef21-a18f-4d66-9fde-2d7186273575" xmlns:ns3="5d6ab043-7ca6-4a91-98c6-c0ddc6b65a42" targetNamespace="http://schemas.microsoft.com/office/2006/metadata/properties" ma:root="true" ma:fieldsID="f4989cc8fd38aeb4f2348a6344630627" ns2:_="" ns3:_="">
    <xsd:import namespace="b807ef21-a18f-4d66-9fde-2d7186273575"/>
    <xsd:import namespace="5d6ab043-7ca6-4a91-98c6-c0ddc6b65a4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07ef21-a18f-4d66-9fde-2d71862735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aa446fb-c4e7-47d1-9e02-aae3431be31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6ab043-7ca6-4a91-98c6-c0ddc6b65a4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01afad5a-5185-456a-b8c7-0af02def2724}" ma:internalName="TaxCatchAll" ma:showField="CatchAllData" ma:web="5d6ab043-7ca6-4a91-98c6-c0ddc6b65a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807ef21-a18f-4d66-9fde-2d7186273575">
      <Terms xmlns="http://schemas.microsoft.com/office/infopath/2007/PartnerControls"/>
    </lcf76f155ced4ddcb4097134ff3c332f>
    <TaxCatchAll xmlns="5d6ab043-7ca6-4a91-98c6-c0ddc6b65a4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E5C53B-0382-425B-BFE8-60F4E55872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07ef21-a18f-4d66-9fde-2d7186273575"/>
    <ds:schemaRef ds:uri="5d6ab043-7ca6-4a91-98c6-c0ddc6b65a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9E4C8F-0A54-4439-884B-DF7CFA3069C0}">
  <ds:schemaRefs>
    <ds:schemaRef ds:uri="http://schemas.microsoft.com/office/2006/metadata/properties"/>
    <ds:schemaRef ds:uri="http://schemas.microsoft.com/office/infopath/2007/PartnerControls"/>
    <ds:schemaRef ds:uri="b807ef21-a18f-4d66-9fde-2d7186273575"/>
    <ds:schemaRef ds:uri="5d6ab043-7ca6-4a91-98c6-c0ddc6b65a42"/>
  </ds:schemaRefs>
</ds:datastoreItem>
</file>

<file path=customXml/itemProps3.xml><?xml version="1.0" encoding="utf-8"?>
<ds:datastoreItem xmlns:ds="http://schemas.openxmlformats.org/officeDocument/2006/customXml" ds:itemID="{77783637-7649-4413-A5C1-18CB4D8029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31</TotalTime>
  <Words>3288</Words>
  <Application>Microsoft Office PowerPoint</Application>
  <PresentationFormat>Widescreen</PresentationFormat>
  <Paragraphs>342</Paragraphs>
  <Slides>21</Slides>
  <Notes>18</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47" baseType="lpstr">
      <vt:lpstr>Arial</vt:lpstr>
      <vt:lpstr>Arial,Sans-Serif</vt:lpstr>
      <vt:lpstr>Calibri</vt:lpstr>
      <vt:lpstr>Calibri Light</vt:lpstr>
      <vt:lpstr>Corbel</vt:lpstr>
      <vt:lpstr>Courier New</vt:lpstr>
      <vt:lpstr>Georgia</vt:lpstr>
      <vt:lpstr>Gill Sans MT</vt:lpstr>
      <vt:lpstr>Open Sans</vt:lpstr>
      <vt:lpstr>Open Sans Condensed</vt:lpstr>
      <vt:lpstr>Segoe IU</vt:lpstr>
      <vt:lpstr>Segoe UI</vt:lpstr>
      <vt:lpstr>Segoe UI Light</vt:lpstr>
      <vt:lpstr>Segoe UI Semibold</vt:lpstr>
      <vt:lpstr>Times</vt:lpstr>
      <vt:lpstr>Verdana</vt:lpstr>
      <vt:lpstr>Wingdings</vt:lpstr>
      <vt:lpstr>Wingdings 2</vt:lpstr>
      <vt:lpstr>3_Custom Design</vt:lpstr>
      <vt:lpstr>2_Section Title 2</vt:lpstr>
      <vt:lpstr>4_Custom Design</vt:lpstr>
      <vt:lpstr>3_Custom Design</vt:lpstr>
      <vt:lpstr>Deloitte 16_9 onscreen</vt:lpstr>
      <vt:lpstr>Office Theme</vt:lpstr>
      <vt:lpstr>Deloitte_Brand_16_9</vt:lpstr>
      <vt:lpstr>think-cell Slide</vt:lpstr>
      <vt:lpstr>PowerPoint Presentation</vt:lpstr>
      <vt:lpstr>PowerPoint Presentation</vt:lpstr>
      <vt:lpstr>PowerPoint Presentation</vt:lpstr>
      <vt:lpstr>Resources and Technical Assist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ural &amp; Tribal Assistance Pilot Program</vt:lpstr>
      <vt:lpstr>Place-Based Interagency Activities</vt:lpstr>
      <vt:lpstr>PowerPoint Presentation</vt:lpstr>
      <vt:lpstr>Upcoming Rural Grant Opportunities in BIL </vt:lpstr>
      <vt:lpstr>BIL Overview for Rural America</vt:lpstr>
      <vt:lpstr>MPDG Program Grants</vt:lpstr>
      <vt:lpstr>Safe Streets and Roads for All (SS4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yman, Robert (OST)</cp:lastModifiedBy>
  <cp:revision>633</cp:revision>
  <dcterms:created xsi:type="dcterms:W3CDTF">2023-06-22T20:56:56Z</dcterms:created>
  <dcterms:modified xsi:type="dcterms:W3CDTF">2024-03-09T03:4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A151E077DDED48A0183BBF68A07201</vt:lpwstr>
  </property>
  <property fmtid="{D5CDD505-2E9C-101B-9397-08002B2CF9AE}" pid="3" name="MediaServiceImageTags">
    <vt:lpwstr/>
  </property>
</Properties>
</file>